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4241" r:id="rId4"/>
    <p:sldMasterId id="2147484467" r:id="rId5"/>
    <p:sldMasterId id="2147484473" r:id="rId6"/>
  </p:sldMasterIdLst>
  <p:notesMasterIdLst>
    <p:notesMasterId r:id="rId13"/>
  </p:notesMasterIdLst>
  <p:handoutMasterIdLst>
    <p:handoutMasterId r:id="rId14"/>
  </p:handoutMasterIdLst>
  <p:sldIdLst>
    <p:sldId id="309" r:id="rId7"/>
    <p:sldId id="352" r:id="rId8"/>
    <p:sldId id="355" r:id="rId9"/>
    <p:sldId id="409" r:id="rId10"/>
    <p:sldId id="408" r:id="rId11"/>
    <p:sldId id="314" r:id="rId12"/>
  </p:sldIdLst>
  <p:sldSz cx="9144000" cy="5143500" type="screen16x9"/>
  <p:notesSz cx="7010400" cy="92964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5577">
          <p15:clr>
            <a:srgbClr val="A4A3A4"/>
          </p15:clr>
        </p15:guide>
        <p15:guide id="3" pos="180">
          <p15:clr>
            <a:srgbClr val="A4A3A4"/>
          </p15:clr>
        </p15:guide>
        <p15:guide id="4" orient="horz" pos="804">
          <p15:clr>
            <a:srgbClr val="A4A3A4"/>
          </p15:clr>
        </p15:guide>
        <p15:guide id="5" pos="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son, Angele" initials="DA" lastIdx="2" clrIdx="0">
    <p:extLst/>
  </p:cmAuthor>
  <p:cmAuthor id="2" name="Matthews, Elizabeth" initials="ME" lastIdx="29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444"/>
    <a:srgbClr val="007DB8"/>
    <a:srgbClr val="808080"/>
    <a:srgbClr val="FA5F39"/>
    <a:srgbClr val="F5F5F5"/>
    <a:srgbClr val="6EA204"/>
    <a:srgbClr val="D7D7D7"/>
    <a:srgbClr val="FBFBFB"/>
    <a:srgbClr val="EAEAEA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424" autoAdjust="0"/>
    <p:restoredTop sz="93663" autoAdjust="0"/>
  </p:normalViewPr>
  <p:slideViewPr>
    <p:cSldViewPr snapToGrid="0">
      <p:cViewPr varScale="1">
        <p:scale>
          <a:sx n="78" d="100"/>
          <a:sy n="78" d="100"/>
        </p:scale>
        <p:origin x="296" y="44"/>
      </p:cViewPr>
      <p:guideLst>
        <p:guide orient="horz" pos="3072"/>
        <p:guide pos="5577"/>
        <p:guide pos="180"/>
        <p:guide orient="horz" pos="804"/>
        <p:guide pos="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56"/>
    </p:cViewPr>
  </p:sorterViewPr>
  <p:notesViewPr>
    <p:cSldViewPr snapToGrid="0">
      <p:cViewPr varScale="1">
        <p:scale>
          <a:sx n="51" d="100"/>
          <a:sy n="51" d="100"/>
        </p:scale>
        <p:origin x="2668" y="4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10918" y="9048205"/>
            <a:ext cx="491516" cy="248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850" b="1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endParaRPr lang="en-US" sz="850" b="1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8348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8" y="384175"/>
            <a:ext cx="6988175" cy="3932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84" y="4514514"/>
            <a:ext cx="5677504" cy="4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2759" y="9086840"/>
            <a:ext cx="669675" cy="21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5" tIns="45464" rIns="90925" bIns="45464" numCol="1" anchor="b" anchorCtr="0" compatLnSpc="1">
            <a:prstTxWarp prst="textNoShape">
              <a:avLst/>
            </a:prstTxWarp>
          </a:bodyPr>
          <a:lstStyle>
            <a:lvl1pPr algn="r" defTabSz="909185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l" descr="                              Dell - Internal Use - Confidential&#10;"/>
          <p:cNvSpPr txBox="1"/>
          <p:nvPr/>
        </p:nvSpPr>
        <p:spPr>
          <a:xfrm>
            <a:off x="0" y="8973820"/>
            <a:ext cx="7010400" cy="353943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1" i="0" u="none" baseline="0">
                <a:solidFill>
                  <a:srgbClr val="7F7F7F"/>
                </a:solidFill>
                <a:latin typeface="museo sans for dell" panose="02000000000000000000" pitchFamily="2" charset="0"/>
              </a:rPr>
              <a:t>                              Dell - Internal Use - Confidential</a:t>
            </a:r>
          </a:p>
          <a:p>
            <a:pPr algn="l"/>
            <a:endParaRPr lang="en-US" sz="850" b="1" i="0" u="none" baseline="0">
              <a:solidFill>
                <a:srgbClr val="7F7F7F"/>
              </a:solidFill>
              <a:latin typeface="museo sans for d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1688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0313" y="282575"/>
            <a:ext cx="4635500" cy="2608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5628" y="3141471"/>
            <a:ext cx="6144628" cy="4263791"/>
          </a:xfrm>
        </p:spPr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9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seo Sans For Dell" pitchFamily="2" charset="0"/>
                <a:ea typeface="+mn-ea"/>
                <a:cs typeface="+mn-cs"/>
              </a:rPr>
              <a:pPr marL="0" marR="0" lvl="0" indent="0" algn="r" defTabSz="909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useo Sans For Dell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401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259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5775" y="384175"/>
            <a:ext cx="6040438" cy="33988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DF440-AC1E-4EB3-BCAA-2AAB8924A793}" type="slidenum">
              <a:rPr lang="en-US" sz="800" smtClean="0">
                <a:solidFill>
                  <a:prstClr val="white"/>
                </a:solidFill>
                <a:latin typeface="Arial"/>
              </a:rPr>
              <a:pPr/>
              <a:t>4</a:t>
            </a:fld>
            <a:endParaRPr lang="en-US" sz="80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4041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083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64336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4056"/>
            <a:ext cx="4865304" cy="48633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3050" y="1280160"/>
            <a:ext cx="42976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767409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2848660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274320"/>
            <a:ext cx="4297680" cy="840802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42976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113366"/>
            <a:ext cx="4305300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964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64797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77540280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45338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86577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imag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2273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Dell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79224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accent2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1017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EE641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723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4320" y="1748271"/>
            <a:ext cx="6850901" cy="1495794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5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901332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37455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72256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60" y="1798082"/>
            <a:ext cx="155448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0911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6700" y="247650"/>
            <a:ext cx="8191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552285209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736291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38150" y="2009618"/>
            <a:ext cx="5962650" cy="755014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700" b="0" i="0" smtClean="0">
                <a:solidFill>
                  <a:schemeClr val="bg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47675" y="3124043"/>
            <a:ext cx="5953125" cy="600076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1500" b="0" i="0" smtClean="0">
                <a:solidFill>
                  <a:schemeClr val="tx1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335881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3807619"/>
            <a:ext cx="824865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1" y="4772025"/>
            <a:ext cx="1000125" cy="371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44444"/>
              </a:solidFill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65290" y="1988821"/>
            <a:ext cx="1487427" cy="1115570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7467600" y="4895913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</p:spTree>
    <p:extLst>
      <p:ext uri="{BB962C8B-B14F-4D97-AF65-F5344CB8AC3E}">
        <p14:creationId xmlns:p14="http://schemas.microsoft.com/office/powerpoint/2010/main" val="2276862933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982980"/>
            <a:ext cx="8229600" cy="756361"/>
          </a:xfrm>
        </p:spPr>
        <p:txBody>
          <a:bodyPr lIns="0" tIns="0" rIns="0" bIns="0"/>
          <a:lstStyle>
            <a:lvl1pPr>
              <a:spcBef>
                <a:spcPts val="1200"/>
              </a:spcBef>
              <a:defRPr sz="165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600"/>
              </a:spcBef>
              <a:buFont typeface="Museo Sans For Dell" pitchFamily="2" charset="0"/>
              <a:buChar char="–"/>
              <a:defRPr sz="135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600"/>
              </a:spcBef>
              <a:defRPr sz="12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600"/>
              </a:spcBef>
              <a:defRPr sz="135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8096047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76" y="28575"/>
            <a:ext cx="8244842" cy="720090"/>
          </a:xfrm>
        </p:spPr>
        <p:txBody>
          <a:bodyPr anchor="b"/>
          <a:lstStyle>
            <a:lvl1pPr>
              <a:defRPr sz="2250" b="0">
                <a:solidFill>
                  <a:schemeClr val="bg1"/>
                </a:solidFill>
                <a:latin typeface="Museo For Dell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581526" y="982980"/>
            <a:ext cx="4112532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49945" y="982980"/>
            <a:ext cx="3926113" cy="756361"/>
          </a:xfrm>
        </p:spPr>
        <p:txBody>
          <a:bodyPr wrap="square" lIns="0" tIns="0" rIns="0" bIns="0">
            <a:spAutoFit/>
          </a:bodyPr>
          <a:lstStyle>
            <a:lvl1pPr>
              <a:spcBef>
                <a:spcPts val="1200"/>
              </a:spcBef>
              <a:defRPr sz="165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431006" indent="-173831">
              <a:defRPr sz="135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defRPr sz="12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35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8579249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_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A09DC72-4ECA-4907-8FFE-4757AD55F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A09DC72-4ECA-4907-8FFE-4757AD55F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DCDED87-A67A-4C4E-89E4-563A21E41F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19063" cy="119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0D1964-46DB-477E-AE18-4F74A4D874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6" y="4610378"/>
            <a:ext cx="348663" cy="34866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DE0C81-BFB9-46B0-A0D3-69454387A9A2}"/>
              </a:ext>
            </a:extLst>
          </p:cNvPr>
          <p:cNvSpPr/>
          <p:nvPr userDrawn="1"/>
        </p:nvSpPr>
        <p:spPr>
          <a:xfrm>
            <a:off x="2" y="1892461"/>
            <a:ext cx="7478693" cy="1219680"/>
          </a:xfrm>
          <a:custGeom>
            <a:avLst/>
            <a:gdLst>
              <a:gd name="connsiteX0" fmla="*/ 0 w 9971590"/>
              <a:gd name="connsiteY0" fmla="*/ 0 h 1626240"/>
              <a:gd name="connsiteX1" fmla="*/ 9971590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0 h 1626240"/>
              <a:gd name="connsiteX3" fmla="*/ 9971590 w 9971590"/>
              <a:gd name="connsiteY3" fmla="*/ 1626240 h 1626240"/>
              <a:gd name="connsiteX4" fmla="*/ 0 w 9971590"/>
              <a:gd name="connsiteY4" fmla="*/ 1626240 h 1626240"/>
              <a:gd name="connsiteX5" fmla="*/ 0 w 9971590"/>
              <a:gd name="connsiteY5" fmla="*/ 0 h 1626240"/>
              <a:gd name="connsiteX0" fmla="*/ 0 w 9971590"/>
              <a:gd name="connsiteY0" fmla="*/ 0 h 1626240"/>
              <a:gd name="connsiteX1" fmla="*/ 9705372 w 9971590"/>
              <a:gd name="connsiteY1" fmla="*/ 0 h 1626240"/>
              <a:gd name="connsiteX2" fmla="*/ 9971590 w 9971590"/>
              <a:gd name="connsiteY2" fmla="*/ 1626240 h 1626240"/>
              <a:gd name="connsiteX3" fmla="*/ 0 w 9971590"/>
              <a:gd name="connsiteY3" fmla="*/ 1626240 h 1626240"/>
              <a:gd name="connsiteX4" fmla="*/ 0 w 9971590"/>
              <a:gd name="connsiteY4" fmla="*/ 0 h 162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1590" h="1626240">
                <a:moveTo>
                  <a:pt x="0" y="0"/>
                </a:moveTo>
                <a:lnTo>
                  <a:pt x="9705372" y="0"/>
                </a:lnTo>
                <a:lnTo>
                  <a:pt x="9971590" y="1626240"/>
                </a:lnTo>
                <a:lnTo>
                  <a:pt x="0" y="1626240"/>
                </a:lnTo>
                <a:lnTo>
                  <a:pt x="0" y="0"/>
                </a:lnTo>
                <a:close/>
              </a:path>
            </a:pathLst>
          </a:custGeom>
          <a:solidFill>
            <a:srgbClr val="19B2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6576" y="2315329"/>
            <a:ext cx="6366654" cy="373949"/>
          </a:xfrm>
          <a:prstGeom prst="rect">
            <a:avLst/>
          </a:prstGeom>
        </p:spPr>
        <p:txBody>
          <a:bodyPr lIns="0" rIns="0" anchor="ctr" anchorCtr="0">
            <a:spAutoFit/>
          </a:bodyPr>
          <a:lstStyle>
            <a:lvl1pPr>
              <a:defRPr sz="27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</p:spTree>
    <p:extLst>
      <p:ext uri="{BB962C8B-B14F-4D97-AF65-F5344CB8AC3E}">
        <p14:creationId xmlns:p14="http://schemas.microsoft.com/office/powerpoint/2010/main" val="1681684889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219077" y="192523"/>
            <a:ext cx="8696325" cy="290849"/>
          </a:xfrm>
        </p:spPr>
        <p:txBody>
          <a:bodyPr anchor="t" anchorCtr="0"/>
          <a:lstStyle>
            <a:lvl1pPr>
              <a:defRPr sz="1350" b="1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3"/>
          </p:nvPr>
        </p:nvSpPr>
        <p:spPr>
          <a:xfrm>
            <a:off x="514350" y="899432"/>
            <a:ext cx="8096250" cy="1263423"/>
          </a:xfrm>
        </p:spPr>
        <p:txBody>
          <a:bodyPr>
            <a:sp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4825D6-593E-4453-93F4-0946EF2077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of 5</a:t>
            </a:r>
          </a:p>
        </p:txBody>
      </p:sp>
    </p:spTree>
    <p:extLst>
      <p:ext uri="{BB962C8B-B14F-4D97-AF65-F5344CB8AC3E}">
        <p14:creationId xmlns:p14="http://schemas.microsoft.com/office/powerpoint/2010/main" val="3520070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517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49704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51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8089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5107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63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7294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7613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20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748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096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698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Dell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50644"/>
          </a:xfrm>
          <a:prstGeom prst="rect">
            <a:avLst/>
          </a:prstGeom>
          <a:solidFill>
            <a:srgbClr val="808080"/>
          </a:solidFill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274320" y="274320"/>
            <a:ext cx="5200791" cy="1661993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54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274320" y="2252133"/>
            <a:ext cx="5200791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000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491" y="3862847"/>
            <a:ext cx="932650" cy="93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522185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19" y="1280160"/>
            <a:ext cx="7955279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75678912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280160"/>
            <a:ext cx="7924386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806211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5"/>
            <a:ext cx="7955280" cy="64008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74320" y="1554480"/>
            <a:ext cx="7955280" cy="301752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3088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66700" y="1057766"/>
            <a:ext cx="7960422" cy="313267"/>
          </a:xfrm>
          <a:prstGeom prst="rect">
            <a:avLst/>
          </a:prstGeom>
        </p:spPr>
        <p:txBody>
          <a:bodyPr lIns="0" rIns="0" anchor="t" anchorCtr="0"/>
          <a:lstStyle>
            <a:lvl1pPr marL="228600" indent="-228600">
              <a:buNone/>
              <a:defRPr lang="en-US" b="1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111004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389120" y="1280160"/>
            <a:ext cx="384048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4378676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73050" y="271463"/>
            <a:ext cx="4295219" cy="64008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274320" y="1280160"/>
            <a:ext cx="4283860" cy="32004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defRPr sz="14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4675" indent="-2317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24754075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0/22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1895476" y="4825328"/>
            <a:ext cx="649537" cy="124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9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1"/>
                </a:buClr>
              </a:pPr>
              <a:t>10/22/2019</a:t>
            </a:fld>
            <a:endParaRPr lang="en-US" sz="9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10378"/>
            <a:ext cx="348663" cy="3486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fl" descr="                              Dell - Internal Use - Confidential&#10;"/>
          <p:cNvSpPr txBox="1"/>
          <p:nvPr/>
        </p:nvSpPr>
        <p:spPr>
          <a:xfrm>
            <a:off x="998538" y="4832722"/>
            <a:ext cx="1647358" cy="11990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dirty="0">
                <a:solidFill>
                  <a:srgbClr val="7F7F7F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5274" y="4832722"/>
            <a:ext cx="0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85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5274" y="4832722"/>
            <a:ext cx="141064" cy="11990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5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50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0FDEFAFB-696C-41AE-9CF2-30E0281AF54D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600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48278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23" r:id="rId1"/>
    <p:sldLayoutId id="2147484428" r:id="rId2"/>
    <p:sldLayoutId id="2147484405" r:id="rId3"/>
    <p:sldLayoutId id="2147484418" r:id="rId4"/>
    <p:sldLayoutId id="2147484367" r:id="rId5"/>
    <p:sldLayoutId id="2147484244" r:id="rId6"/>
    <p:sldLayoutId id="2147484245" r:id="rId7"/>
    <p:sldLayoutId id="2147484246" r:id="rId8"/>
    <p:sldLayoutId id="2147484247" r:id="rId9"/>
    <p:sldLayoutId id="2147484460" r:id="rId10"/>
    <p:sldLayoutId id="2147484249" r:id="rId11"/>
    <p:sldLayoutId id="2147484250" r:id="rId12"/>
    <p:sldLayoutId id="2147484411" r:id="rId13"/>
    <p:sldLayoutId id="2147484454" r:id="rId14"/>
    <p:sldLayoutId id="2147484451" r:id="rId15"/>
    <p:sldLayoutId id="2147484396" r:id="rId16"/>
    <p:sldLayoutId id="2147484420" r:id="rId17"/>
    <p:sldLayoutId id="2147484421" r:id="rId18"/>
    <p:sldLayoutId id="2147484413" r:id="rId19"/>
    <p:sldLayoutId id="2147484459" r:id="rId20"/>
    <p:sldLayoutId id="2147484458" r:id="rId21"/>
    <p:sldLayoutId id="2147484463" r:id="rId22"/>
    <p:sldLayoutId id="2147484465" r:id="rId23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400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574675" indent="-2333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2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909638" indent="-220663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3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000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84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5" y="28575"/>
            <a:ext cx="8239125" cy="720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47676" y="982980"/>
            <a:ext cx="8239125" cy="756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4822031"/>
            <a:ext cx="1885950" cy="1143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75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r>
              <a:rPr lang="en-US" dirty="0">
                <a:solidFill>
                  <a:srgbClr val="AAAAAA"/>
                </a:solidFill>
              </a:rPr>
              <a:t>EBI Confidentia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2" y="4830370"/>
            <a:ext cx="260349" cy="1142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675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B5733490-2D76-48E6-BB31-8229FC6CE238}" type="slidenum">
              <a:rPr lang="en-US" smtClean="0">
                <a:solidFill>
                  <a:srgbClr val="AAAAAA"/>
                </a:solidFill>
              </a:rPr>
              <a:pPr/>
              <a:t>‹#›</a:t>
            </a:fld>
            <a:endParaRPr lang="en-US" dirty="0">
              <a:solidFill>
                <a:srgbClr val="AAAAAA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400800" y="4800600"/>
            <a:ext cx="17526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88" dirty="0">
                <a:solidFill>
                  <a:srgbClr val="FFFFFF">
                    <a:lumMod val="65000"/>
                  </a:srgbClr>
                </a:solidFill>
              </a:rPr>
              <a:t>We Are The Difference</a:t>
            </a:r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193025" y="4670013"/>
            <a:ext cx="573025" cy="429769"/>
          </a:xfrm>
          <a:prstGeom prst="rect">
            <a:avLst/>
          </a:prstGeom>
        </p:spPr>
      </p:pic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462915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2" name="fl" descr="                              Dell - Internal Use - Confidential&#10;"/>
          <p:cNvSpPr txBox="1"/>
          <p:nvPr userDrawn="1"/>
        </p:nvSpPr>
        <p:spPr>
          <a:xfrm>
            <a:off x="0" y="4901565"/>
            <a:ext cx="9144000" cy="28866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638" b="1" i="0" u="none" baseline="0">
                <a:solidFill>
                  <a:srgbClr val="7F7F7F"/>
                </a:solidFill>
                <a:latin typeface="museo sans for dell"/>
              </a:rPr>
              <a:t>                              Dell - Internal Use - Confidential</a:t>
            </a:r>
          </a:p>
          <a:p>
            <a:pPr algn="l"/>
            <a:endParaRPr lang="en-US" sz="638" b="1" i="0" u="none" baseline="0">
              <a:solidFill>
                <a:srgbClr val="7F7F7F"/>
              </a:solidFill>
              <a:latin typeface="museo sans for dell"/>
            </a:endParaRPr>
          </a:p>
        </p:txBody>
      </p:sp>
      <p:sp>
        <p:nvSpPr>
          <p:cNvPr id="3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D221BCFF-7B94-4322-B87D-B41CE388CC05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245823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</p:sldLayoutIdLst>
  <p:transition spd="med">
    <p:wipe dir="r"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50" b="0" cap="none" baseline="0">
          <a:solidFill>
            <a:schemeClr val="bg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 Black" pitchFamily="34" charset="0"/>
        </a:defRPr>
      </a:lvl5pPr>
      <a:lvl6pPr marL="3429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6pPr>
      <a:lvl7pPr marL="685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7pPr>
      <a:lvl8pPr marL="10287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8pPr>
      <a:lvl9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3300" b="1">
          <a:solidFill>
            <a:schemeClr val="accent1"/>
          </a:solidFill>
          <a:latin typeface="Arial Black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1500"/>
        </a:spcBef>
        <a:spcAft>
          <a:spcPct val="0"/>
        </a:spcAft>
        <a:buClr>
          <a:schemeClr val="bg1"/>
        </a:buClr>
        <a:buFont typeface="Arial" pitchFamily="34" charset="0"/>
        <a:buChar char="•"/>
        <a:defRPr sz="165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431006" indent="-167879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–"/>
        <a:defRPr sz="135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682229" indent="-165497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Sans For Dell" pitchFamily="2" charset="0"/>
        <a:buChar char="›"/>
        <a:defRPr sz="12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934641" indent="-166688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206104" indent="-177404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35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15490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6pPr>
      <a:lvl7pPr marL="18919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7pPr>
      <a:lvl8pPr marL="22348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8pPr>
      <a:lvl9pPr marL="2577704" indent="-17740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2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E989F22-50A8-5F48-B64D-347B85466AD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22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FA41F54-F78A-804C-B384-4209359BD17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7CA47408-748D-4CD7-9181-5A52DC0F95D2}"/>
              </a:ext>
            </a:extLst>
          </p:cNvPr>
          <p:cNvSpPr txBox="1"/>
          <p:nvPr userDrawn="1"/>
        </p:nvSpPr>
        <p:spPr>
          <a:xfrm>
            <a:off x="0" y="4949517"/>
            <a:ext cx="1028784" cy="1939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858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21" Type="http://schemas.openxmlformats.org/officeDocument/2006/relationships/image" Target="../media/image64.tiff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0003B-DABE-4A0E-B874-D295D44108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895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6" imgW="423" imgH="424" progId="TCLayout.ActiveDocument.1">
                  <p:embed/>
                </p:oleObj>
              </mc:Choice>
              <mc:Fallback>
                <p:oleObj name="think-cell Slide" r:id="rId6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40003B-DABE-4A0E-B874-D295D4410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95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6FB83C-1131-4DAC-9614-0EB4A0E825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642939"/>
            <a:ext cx="89297" cy="892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fontAlgn="auto">
              <a:lnSpc>
                <a:spcPct val="90000"/>
              </a:lnSpc>
            </a:pPr>
            <a:endParaRPr lang="en-US" sz="2475" dirty="0">
              <a:solidFill>
                <a:srgbClr val="44444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8993D3-31E9-4A4E-A92D-3EB611994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2933" y="2348270"/>
            <a:ext cx="4888928" cy="342786"/>
          </a:xfrm>
        </p:spPr>
        <p:txBody>
          <a:bodyPr>
            <a:spAutoFit/>
          </a:bodyPr>
          <a:lstStyle/>
          <a:p>
            <a:r>
              <a:rPr lang="en-US" sz="2475" dirty="0"/>
              <a:t>Enterprise Mobility Showca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5554" y="3569362"/>
            <a:ext cx="4617006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90000"/>
              </a:lnSpc>
              <a:spcBef>
                <a:spcPts val="56"/>
              </a:spcBef>
              <a:spcAft>
                <a:spcPts val="56"/>
              </a:spcAft>
            </a:pPr>
            <a:r>
              <a:rPr lang="en-US" sz="2250" dirty="0">
                <a:solidFill>
                  <a:srgbClr val="FFFFFF"/>
                </a:solidFill>
                <a:latin typeface="Museo Sans For Dell"/>
              </a:rPr>
              <a:t>22-Oct-2019</a:t>
            </a:r>
          </a:p>
        </p:txBody>
      </p:sp>
      <p:sp>
        <p:nvSpPr>
          <p:cNvPr id="2" name="flFirstPage"/>
          <p:cNvSpPr txBox="1"/>
          <p:nvPr/>
        </p:nvSpPr>
        <p:spPr>
          <a:xfrm>
            <a:off x="1143002" y="4290572"/>
            <a:ext cx="184731" cy="19620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685784" fontAlgn="auto">
              <a:lnSpc>
                <a:spcPct val="90000"/>
              </a:lnSpc>
              <a:spcBef>
                <a:spcPts val="75"/>
              </a:spcBef>
              <a:spcAft>
                <a:spcPts val="75"/>
              </a:spcAft>
            </a:pPr>
            <a:endParaRPr lang="en-US" sz="750" dirty="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ABFEE9-717B-4A19-B07E-480C05194CCE}"/>
              </a:ext>
            </a:extLst>
          </p:cNvPr>
          <p:cNvSpPr txBox="1"/>
          <p:nvPr/>
        </p:nvSpPr>
        <p:spPr>
          <a:xfrm>
            <a:off x="185554" y="3984719"/>
            <a:ext cx="4617006" cy="741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lnSpc>
                <a:spcPct val="90000"/>
              </a:lnSpc>
              <a:spcBef>
                <a:spcPts val="56"/>
              </a:spcBef>
              <a:spcAft>
                <a:spcPts val="56"/>
              </a:spcAft>
            </a:pPr>
            <a:r>
              <a:rPr lang="en-US" sz="2250" dirty="0">
                <a:solidFill>
                  <a:srgbClr val="FFFFFF"/>
                </a:solidFill>
                <a:latin typeface="Museo Sans For Dell"/>
              </a:rPr>
              <a:t>Partha Datta </a:t>
            </a:r>
          </a:p>
          <a:p>
            <a:pPr defTabSz="685800" fontAlgn="auto">
              <a:lnSpc>
                <a:spcPct val="90000"/>
              </a:lnSpc>
              <a:spcBef>
                <a:spcPts val="56"/>
              </a:spcBef>
              <a:spcAft>
                <a:spcPts val="56"/>
              </a:spcAft>
            </a:pPr>
            <a:r>
              <a:rPr lang="en-US" sz="2250" dirty="0">
                <a:solidFill>
                  <a:srgbClr val="FFFFFF"/>
                </a:solidFill>
                <a:latin typeface="Museo Sans For Dell"/>
              </a:rPr>
              <a:t>Piyush Goswami</a:t>
            </a:r>
          </a:p>
        </p:txBody>
      </p:sp>
    </p:spTree>
    <p:extLst>
      <p:ext uri="{BB962C8B-B14F-4D97-AF65-F5344CB8AC3E}">
        <p14:creationId xmlns:p14="http://schemas.microsoft.com/office/powerpoint/2010/main" val="199065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Picture 1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1623885"/>
            <a:ext cx="3809296" cy="351961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124464" y="-162986"/>
            <a:ext cx="5066256" cy="4680989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6700" y="174498"/>
            <a:ext cx="8191500" cy="387798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72800" y="752400"/>
            <a:ext cx="33912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Mobility Strateg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Glimpse of apps availabl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US" sz="1400" dirty="0">
                <a:solidFill>
                  <a:schemeClr val="bg2"/>
                </a:solidFill>
                <a:latin typeface="+mn-lt"/>
              </a:rPr>
              <a:t>Demo Apps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endParaRPr lang="en-US" sz="14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v"/>
            </a:pPr>
            <a:endParaRPr lang="en-US" sz="14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1415290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Block Arc 313"/>
          <p:cNvSpPr/>
          <p:nvPr/>
        </p:nvSpPr>
        <p:spPr>
          <a:xfrm flipV="1">
            <a:off x="3519395" y="640636"/>
            <a:ext cx="4505434" cy="4520834"/>
          </a:xfrm>
          <a:prstGeom prst="blockArc">
            <a:avLst/>
          </a:prstGeom>
          <a:solidFill>
            <a:srgbClr val="A2310E"/>
          </a:solidFill>
          <a:ln w="635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Block Arc 11"/>
          <p:cNvSpPr/>
          <p:nvPr/>
        </p:nvSpPr>
        <p:spPr>
          <a:xfrm>
            <a:off x="3519395" y="584143"/>
            <a:ext cx="4505434" cy="4521258"/>
          </a:xfrm>
          <a:prstGeom prst="blockArc">
            <a:avLst/>
          </a:prstGeom>
          <a:solidFill>
            <a:schemeClr val="accent3">
              <a:lumMod val="75000"/>
            </a:schemeClr>
          </a:solidFill>
          <a:ln w="635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7" name="Oval 96"/>
          <p:cNvSpPr/>
          <p:nvPr/>
        </p:nvSpPr>
        <p:spPr>
          <a:xfrm>
            <a:off x="3755447" y="804863"/>
            <a:ext cx="4050005" cy="406242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4334159" y="1382742"/>
            <a:ext cx="2847939" cy="2847939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9" name="Oval 398"/>
          <p:cNvSpPr/>
          <p:nvPr/>
        </p:nvSpPr>
        <p:spPr>
          <a:xfrm>
            <a:off x="4907763" y="1964713"/>
            <a:ext cx="1635751" cy="1635749"/>
          </a:xfrm>
          <a:prstGeom prst="ellipse">
            <a:avLst/>
          </a:prstGeom>
          <a:solidFill>
            <a:schemeClr val="bg1">
              <a:lumMod val="40000"/>
              <a:lumOff val="60000"/>
            </a:schemeClr>
          </a:solidFill>
          <a:ln w="6350" cmpd="sng">
            <a:solidFill>
              <a:schemeClr val="tx2"/>
            </a:solidFill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8974" y="4624667"/>
            <a:ext cx="348663" cy="348663"/>
          </a:xfrm>
          <a:prstGeom prst="rect">
            <a:avLst/>
          </a:prstGeom>
        </p:spPr>
      </p:pic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179790" y="4901849"/>
            <a:ext cx="1647358" cy="11990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dirty="0">
                <a:solidFill>
                  <a:schemeClr val="tx2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3381" y="99510"/>
            <a:ext cx="86106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280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Enterprise Mobile Engineering (EME) Strategies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7859748" y="1659316"/>
            <a:ext cx="984741" cy="2769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Develop Solutions Together</a:t>
            </a:r>
          </a:p>
        </p:txBody>
      </p:sp>
      <p:sp>
        <p:nvSpPr>
          <p:cNvPr id="321" name="TextBox 320"/>
          <p:cNvSpPr txBox="1"/>
          <p:nvPr/>
        </p:nvSpPr>
        <p:spPr>
          <a:xfrm>
            <a:off x="3324756" y="1677692"/>
            <a:ext cx="544411" cy="13849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GTM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421468" y="1976262"/>
            <a:ext cx="2134754" cy="49244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600" dirty="0">
                <a:solidFill>
                  <a:srgbClr val="007DB8"/>
                </a:solidFill>
                <a:latin typeface="Roboto" pitchFamily="2" charset="0"/>
                <a:ea typeface="Roboto" pitchFamily="2" charset="0"/>
              </a:rPr>
              <a:t>Single Entry-Exit Point for all Mobile Solution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61838" y="1087387"/>
            <a:ext cx="454015" cy="760243"/>
            <a:chOff x="2062799" y="796714"/>
            <a:chExt cx="224557" cy="376018"/>
          </a:xfrm>
          <a:solidFill>
            <a:schemeClr val="bg1"/>
          </a:solidFill>
        </p:grpSpPr>
        <p:sp>
          <p:nvSpPr>
            <p:cNvPr id="285" name="Rectangle 301"/>
            <p:cNvSpPr>
              <a:spLocks noChangeArrowheads="1"/>
            </p:cNvSpPr>
            <p:nvPr/>
          </p:nvSpPr>
          <p:spPr bwMode="auto">
            <a:xfrm>
              <a:off x="2154992" y="1118074"/>
              <a:ext cx="41487" cy="118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302"/>
            <p:cNvSpPr>
              <a:spLocks noEditPoints="1"/>
            </p:cNvSpPr>
            <p:nvPr/>
          </p:nvSpPr>
          <p:spPr bwMode="auto">
            <a:xfrm>
              <a:off x="2062799" y="796714"/>
              <a:ext cx="224557" cy="376018"/>
            </a:xfrm>
            <a:custGeom>
              <a:avLst/>
              <a:gdLst>
                <a:gd name="T0" fmla="*/ 217 w 238"/>
                <a:gd name="T1" fmla="*/ 400 h 400"/>
                <a:gd name="T2" fmla="*/ 23 w 238"/>
                <a:gd name="T3" fmla="*/ 400 h 400"/>
                <a:gd name="T4" fmla="*/ 0 w 238"/>
                <a:gd name="T5" fmla="*/ 379 h 400"/>
                <a:gd name="T6" fmla="*/ 0 w 238"/>
                <a:gd name="T7" fmla="*/ 379 h 400"/>
                <a:gd name="T8" fmla="*/ 0 w 238"/>
                <a:gd name="T9" fmla="*/ 296 h 400"/>
                <a:gd name="T10" fmla="*/ 0 w 238"/>
                <a:gd name="T11" fmla="*/ 290 h 400"/>
                <a:gd name="T12" fmla="*/ 226 w 238"/>
                <a:gd name="T13" fmla="*/ 290 h 400"/>
                <a:gd name="T14" fmla="*/ 226 w 238"/>
                <a:gd name="T15" fmla="*/ 18 h 400"/>
                <a:gd name="T16" fmla="*/ 219 w 238"/>
                <a:gd name="T17" fmla="*/ 12 h 400"/>
                <a:gd name="T18" fmla="*/ 21 w 238"/>
                <a:gd name="T19" fmla="*/ 12 h 400"/>
                <a:gd name="T20" fmla="*/ 14 w 238"/>
                <a:gd name="T21" fmla="*/ 14 h 400"/>
                <a:gd name="T22" fmla="*/ 12 w 238"/>
                <a:gd name="T23" fmla="*/ 19 h 400"/>
                <a:gd name="T24" fmla="*/ 12 w 238"/>
                <a:gd name="T25" fmla="*/ 243 h 400"/>
                <a:gd name="T26" fmla="*/ 0 w 238"/>
                <a:gd name="T27" fmla="*/ 243 h 400"/>
                <a:gd name="T28" fmla="*/ 0 w 238"/>
                <a:gd name="T29" fmla="*/ 19 h 400"/>
                <a:gd name="T30" fmla="*/ 6 w 238"/>
                <a:gd name="T31" fmla="*/ 6 h 400"/>
                <a:gd name="T32" fmla="*/ 21 w 238"/>
                <a:gd name="T33" fmla="*/ 0 h 400"/>
                <a:gd name="T34" fmla="*/ 219 w 238"/>
                <a:gd name="T35" fmla="*/ 0 h 400"/>
                <a:gd name="T36" fmla="*/ 238 w 238"/>
                <a:gd name="T37" fmla="*/ 18 h 400"/>
                <a:gd name="T38" fmla="*/ 238 w 238"/>
                <a:gd name="T39" fmla="*/ 380 h 400"/>
                <a:gd name="T40" fmla="*/ 218 w 238"/>
                <a:gd name="T41" fmla="*/ 400 h 400"/>
                <a:gd name="T42" fmla="*/ 217 w 238"/>
                <a:gd name="T43" fmla="*/ 400 h 400"/>
                <a:gd name="T44" fmla="*/ 12 w 238"/>
                <a:gd name="T45" fmla="*/ 379 h 400"/>
                <a:gd name="T46" fmla="*/ 23 w 238"/>
                <a:gd name="T47" fmla="*/ 388 h 400"/>
                <a:gd name="T48" fmla="*/ 217 w 238"/>
                <a:gd name="T49" fmla="*/ 388 h 400"/>
                <a:gd name="T50" fmla="*/ 226 w 238"/>
                <a:gd name="T51" fmla="*/ 380 h 400"/>
                <a:gd name="T52" fmla="*/ 226 w 238"/>
                <a:gd name="T53" fmla="*/ 302 h 400"/>
                <a:gd name="T54" fmla="*/ 12 w 238"/>
                <a:gd name="T55" fmla="*/ 302 h 400"/>
                <a:gd name="T56" fmla="*/ 12 w 238"/>
                <a:gd name="T57" fmla="*/ 379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8" h="400">
                  <a:moveTo>
                    <a:pt x="217" y="400"/>
                  </a:moveTo>
                  <a:cubicBezTo>
                    <a:pt x="23" y="400"/>
                    <a:pt x="23" y="400"/>
                    <a:pt x="23" y="400"/>
                  </a:cubicBezTo>
                  <a:cubicBezTo>
                    <a:pt x="6" y="400"/>
                    <a:pt x="0" y="388"/>
                    <a:pt x="0" y="379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0" y="296"/>
                    <a:pt x="0" y="296"/>
                    <a:pt x="0" y="296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5"/>
                    <a:pt x="225" y="12"/>
                    <a:pt x="219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9" y="12"/>
                    <a:pt x="16" y="13"/>
                    <a:pt x="14" y="14"/>
                  </a:cubicBezTo>
                  <a:cubicBezTo>
                    <a:pt x="13" y="15"/>
                    <a:pt x="12" y="16"/>
                    <a:pt x="12" y="19"/>
                  </a:cubicBezTo>
                  <a:cubicBezTo>
                    <a:pt x="12" y="243"/>
                    <a:pt x="12" y="243"/>
                    <a:pt x="12" y="243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11" y="0"/>
                    <a:pt x="20" y="0"/>
                    <a:pt x="21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30" y="0"/>
                    <a:pt x="238" y="7"/>
                    <a:pt x="238" y="18"/>
                  </a:cubicBezTo>
                  <a:cubicBezTo>
                    <a:pt x="238" y="380"/>
                    <a:pt x="238" y="380"/>
                    <a:pt x="238" y="380"/>
                  </a:cubicBezTo>
                  <a:cubicBezTo>
                    <a:pt x="238" y="395"/>
                    <a:pt x="225" y="400"/>
                    <a:pt x="218" y="400"/>
                  </a:cubicBezTo>
                  <a:lnTo>
                    <a:pt x="217" y="400"/>
                  </a:lnTo>
                  <a:close/>
                  <a:moveTo>
                    <a:pt x="12" y="379"/>
                  </a:moveTo>
                  <a:cubicBezTo>
                    <a:pt x="12" y="382"/>
                    <a:pt x="14" y="388"/>
                    <a:pt x="23" y="388"/>
                  </a:cubicBezTo>
                  <a:cubicBezTo>
                    <a:pt x="217" y="388"/>
                    <a:pt x="217" y="388"/>
                    <a:pt x="217" y="388"/>
                  </a:cubicBezTo>
                  <a:cubicBezTo>
                    <a:pt x="219" y="388"/>
                    <a:pt x="226" y="387"/>
                    <a:pt x="226" y="380"/>
                  </a:cubicBezTo>
                  <a:cubicBezTo>
                    <a:pt x="226" y="302"/>
                    <a:pt x="226" y="302"/>
                    <a:pt x="226" y="302"/>
                  </a:cubicBezTo>
                  <a:cubicBezTo>
                    <a:pt x="12" y="302"/>
                    <a:pt x="12" y="302"/>
                    <a:pt x="12" y="302"/>
                  </a:cubicBezTo>
                  <a:lnTo>
                    <a:pt x="1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303"/>
            <p:cNvSpPr>
              <a:spLocks/>
            </p:cNvSpPr>
            <p:nvPr/>
          </p:nvSpPr>
          <p:spPr bwMode="auto">
            <a:xfrm>
              <a:off x="2098359" y="859932"/>
              <a:ext cx="94828" cy="94828"/>
            </a:xfrm>
            <a:custGeom>
              <a:avLst/>
              <a:gdLst>
                <a:gd name="T0" fmla="*/ 7 w 144"/>
                <a:gd name="T1" fmla="*/ 144 h 144"/>
                <a:gd name="T2" fmla="*/ 0 w 144"/>
                <a:gd name="T3" fmla="*/ 135 h 144"/>
                <a:gd name="T4" fmla="*/ 136 w 144"/>
                <a:gd name="T5" fmla="*/ 0 h 144"/>
                <a:gd name="T6" fmla="*/ 144 w 144"/>
                <a:gd name="T7" fmla="*/ 7 h 144"/>
                <a:gd name="T8" fmla="*/ 7 w 14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44">
                  <a:moveTo>
                    <a:pt x="7" y="144"/>
                  </a:moveTo>
                  <a:lnTo>
                    <a:pt x="0" y="135"/>
                  </a:lnTo>
                  <a:lnTo>
                    <a:pt x="136" y="0"/>
                  </a:lnTo>
                  <a:lnTo>
                    <a:pt x="144" y="7"/>
                  </a:lnTo>
                  <a:lnTo>
                    <a:pt x="7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304"/>
            <p:cNvSpPr>
              <a:spLocks/>
            </p:cNvSpPr>
            <p:nvPr/>
          </p:nvSpPr>
          <p:spPr bwMode="auto">
            <a:xfrm>
              <a:off x="2160919" y="851372"/>
              <a:ext cx="87584" cy="87584"/>
            </a:xfrm>
            <a:custGeom>
              <a:avLst/>
              <a:gdLst>
                <a:gd name="T0" fmla="*/ 8 w 133"/>
                <a:gd name="T1" fmla="*/ 133 h 133"/>
                <a:gd name="T2" fmla="*/ 0 w 133"/>
                <a:gd name="T3" fmla="*/ 124 h 133"/>
                <a:gd name="T4" fmla="*/ 125 w 133"/>
                <a:gd name="T5" fmla="*/ 0 h 133"/>
                <a:gd name="T6" fmla="*/ 133 w 133"/>
                <a:gd name="T7" fmla="*/ 8 h 133"/>
                <a:gd name="T8" fmla="*/ 8 w 133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3">
                  <a:moveTo>
                    <a:pt x="8" y="133"/>
                  </a:moveTo>
                  <a:lnTo>
                    <a:pt x="0" y="124"/>
                  </a:lnTo>
                  <a:lnTo>
                    <a:pt x="125" y="0"/>
                  </a:lnTo>
                  <a:lnTo>
                    <a:pt x="133" y="8"/>
                  </a:lnTo>
                  <a:lnTo>
                    <a:pt x="8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305"/>
            <p:cNvSpPr>
              <a:spLocks/>
            </p:cNvSpPr>
            <p:nvPr/>
          </p:nvSpPr>
          <p:spPr bwMode="auto">
            <a:xfrm>
              <a:off x="2164870" y="902737"/>
              <a:ext cx="79682" cy="80999"/>
            </a:xfrm>
            <a:custGeom>
              <a:avLst/>
              <a:gdLst>
                <a:gd name="T0" fmla="*/ 7 w 121"/>
                <a:gd name="T1" fmla="*/ 123 h 123"/>
                <a:gd name="T2" fmla="*/ 0 w 121"/>
                <a:gd name="T3" fmla="*/ 115 h 123"/>
                <a:gd name="T4" fmla="*/ 114 w 121"/>
                <a:gd name="T5" fmla="*/ 0 h 123"/>
                <a:gd name="T6" fmla="*/ 121 w 121"/>
                <a:gd name="T7" fmla="*/ 9 h 123"/>
                <a:gd name="T8" fmla="*/ 7 w 12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123">
                  <a:moveTo>
                    <a:pt x="7" y="123"/>
                  </a:moveTo>
                  <a:lnTo>
                    <a:pt x="0" y="115"/>
                  </a:lnTo>
                  <a:lnTo>
                    <a:pt x="114" y="0"/>
                  </a:lnTo>
                  <a:lnTo>
                    <a:pt x="121" y="9"/>
                  </a:lnTo>
                  <a:lnTo>
                    <a:pt x="7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397" name="Picture 39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5" t="50000"/>
          <a:stretch/>
        </p:blipFill>
        <p:spPr>
          <a:xfrm>
            <a:off x="269023" y="2497130"/>
            <a:ext cx="3020060" cy="113263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56" name="Group 455"/>
          <p:cNvGrpSpPr/>
          <p:nvPr/>
        </p:nvGrpSpPr>
        <p:grpSpPr>
          <a:xfrm>
            <a:off x="3440841" y="1027230"/>
            <a:ext cx="624639" cy="624639"/>
            <a:chOff x="3802380" y="2579698"/>
            <a:chExt cx="437535" cy="437535"/>
          </a:xfrm>
        </p:grpSpPr>
        <p:sp>
          <p:nvSpPr>
            <p:cNvPr id="13" name="Oval 12"/>
            <p:cNvSpPr/>
            <p:nvPr/>
          </p:nvSpPr>
          <p:spPr>
            <a:xfrm>
              <a:off x="3802380" y="2579698"/>
              <a:ext cx="437535" cy="437535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3899870" y="2668526"/>
              <a:ext cx="242554" cy="259879"/>
              <a:chOff x="3184525" y="3532188"/>
              <a:chExt cx="422276" cy="452437"/>
            </a:xfrm>
            <a:solidFill>
              <a:schemeClr val="tx2"/>
            </a:solidFill>
          </p:grpSpPr>
          <p:sp>
            <p:nvSpPr>
              <p:cNvPr id="68" name="Freeform 5"/>
              <p:cNvSpPr>
                <a:spLocks noEditPoints="1"/>
              </p:cNvSpPr>
              <p:nvPr/>
            </p:nvSpPr>
            <p:spPr bwMode="auto">
              <a:xfrm>
                <a:off x="3184525" y="381793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6 w 610"/>
                  <a:gd name="T3" fmla="*/ 424 h 752"/>
                  <a:gd name="T4" fmla="*/ 406 w 610"/>
                  <a:gd name="T5" fmla="*/ 390 h 752"/>
                  <a:gd name="T6" fmla="*/ 446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3 w 610"/>
                  <a:gd name="T21" fmla="*/ 346 h 752"/>
                  <a:gd name="T22" fmla="*/ 203 w 610"/>
                  <a:gd name="T23" fmla="*/ 390 h 752"/>
                  <a:gd name="T24" fmla="*/ 203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8 w 610"/>
                  <a:gd name="T43" fmla="*/ 691 h 752"/>
                  <a:gd name="T44" fmla="*/ 61 w 610"/>
                  <a:gd name="T45" fmla="*/ 691 h 752"/>
                  <a:gd name="T46" fmla="*/ 61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5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5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8 w 610"/>
                  <a:gd name="T85" fmla="*/ 567 h 752"/>
                  <a:gd name="T86" fmla="*/ 548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6" y="424"/>
                      <a:pt x="406" y="424"/>
                      <a:pt x="406" y="424"/>
                    </a:cubicBezTo>
                    <a:cubicBezTo>
                      <a:pt x="406" y="390"/>
                      <a:pt x="406" y="390"/>
                      <a:pt x="406" y="390"/>
                    </a:cubicBezTo>
                    <a:cubicBezTo>
                      <a:pt x="446" y="346"/>
                      <a:pt x="446" y="346"/>
                      <a:pt x="446" y="346"/>
                    </a:cubicBezTo>
                    <a:cubicBezTo>
                      <a:pt x="469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0" y="321"/>
                      <a:pt x="163" y="346"/>
                    </a:cubicBezTo>
                    <a:cubicBezTo>
                      <a:pt x="203" y="390"/>
                      <a:pt x="203" y="390"/>
                      <a:pt x="203" y="390"/>
                    </a:cubicBezTo>
                    <a:cubicBezTo>
                      <a:pt x="203" y="424"/>
                      <a:pt x="203" y="424"/>
                      <a:pt x="203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8" y="691"/>
                    </a:moveTo>
                    <a:cubicBezTo>
                      <a:pt x="61" y="691"/>
                      <a:pt x="61" y="691"/>
                      <a:pt x="61" y="691"/>
                    </a:cubicBezTo>
                    <a:cubicBezTo>
                      <a:pt x="61" y="567"/>
                      <a:pt x="61" y="567"/>
                      <a:pt x="61" y="567"/>
                    </a:cubicBezTo>
                    <a:cubicBezTo>
                      <a:pt x="61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5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5"/>
                      <a:pt x="345" y="455"/>
                      <a:pt x="345" y="455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8" y="522"/>
                      <a:pt x="548" y="567"/>
                    </a:cubicBezTo>
                    <a:lnTo>
                      <a:pt x="548" y="6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6"/>
              <p:cNvSpPr>
                <a:spLocks noEditPoints="1"/>
              </p:cNvSpPr>
              <p:nvPr/>
            </p:nvSpPr>
            <p:spPr bwMode="auto">
              <a:xfrm>
                <a:off x="3471863" y="3532188"/>
                <a:ext cx="134938" cy="166687"/>
              </a:xfrm>
              <a:custGeom>
                <a:avLst/>
                <a:gdLst>
                  <a:gd name="T0" fmla="*/ 467 w 610"/>
                  <a:gd name="T1" fmla="*/ 424 h 752"/>
                  <a:gd name="T2" fmla="*/ 407 w 610"/>
                  <a:gd name="T3" fmla="*/ 424 h 752"/>
                  <a:gd name="T4" fmla="*/ 407 w 610"/>
                  <a:gd name="T5" fmla="*/ 390 h 752"/>
                  <a:gd name="T6" fmla="*/ 447 w 610"/>
                  <a:gd name="T7" fmla="*/ 346 h 752"/>
                  <a:gd name="T8" fmla="*/ 482 w 610"/>
                  <a:gd name="T9" fmla="*/ 254 h 752"/>
                  <a:gd name="T10" fmla="*/ 482 w 610"/>
                  <a:gd name="T11" fmla="*/ 145 h 752"/>
                  <a:gd name="T12" fmla="*/ 337 w 610"/>
                  <a:gd name="T13" fmla="*/ 0 h 752"/>
                  <a:gd name="T14" fmla="*/ 273 w 610"/>
                  <a:gd name="T15" fmla="*/ 0 h 752"/>
                  <a:gd name="T16" fmla="*/ 128 w 610"/>
                  <a:gd name="T17" fmla="*/ 145 h 752"/>
                  <a:gd name="T18" fmla="*/ 128 w 610"/>
                  <a:gd name="T19" fmla="*/ 254 h 752"/>
                  <a:gd name="T20" fmla="*/ 164 w 610"/>
                  <a:gd name="T21" fmla="*/ 346 h 752"/>
                  <a:gd name="T22" fmla="*/ 204 w 610"/>
                  <a:gd name="T23" fmla="*/ 390 h 752"/>
                  <a:gd name="T24" fmla="*/ 204 w 610"/>
                  <a:gd name="T25" fmla="*/ 424 h 752"/>
                  <a:gd name="T26" fmla="*/ 143 w 610"/>
                  <a:gd name="T27" fmla="*/ 424 h 752"/>
                  <a:gd name="T28" fmla="*/ 0 w 610"/>
                  <a:gd name="T29" fmla="*/ 567 h 752"/>
                  <a:gd name="T30" fmla="*/ 0 w 610"/>
                  <a:gd name="T31" fmla="*/ 721 h 752"/>
                  <a:gd name="T32" fmla="*/ 31 w 610"/>
                  <a:gd name="T33" fmla="*/ 752 h 752"/>
                  <a:gd name="T34" fmla="*/ 579 w 610"/>
                  <a:gd name="T35" fmla="*/ 752 h 752"/>
                  <a:gd name="T36" fmla="*/ 610 w 610"/>
                  <a:gd name="T37" fmla="*/ 721 h 752"/>
                  <a:gd name="T38" fmla="*/ 610 w 610"/>
                  <a:gd name="T39" fmla="*/ 567 h 752"/>
                  <a:gd name="T40" fmla="*/ 467 w 610"/>
                  <a:gd name="T41" fmla="*/ 424 h 752"/>
                  <a:gd name="T42" fmla="*/ 549 w 610"/>
                  <a:gd name="T43" fmla="*/ 691 h 752"/>
                  <a:gd name="T44" fmla="*/ 62 w 610"/>
                  <a:gd name="T45" fmla="*/ 691 h 752"/>
                  <a:gd name="T46" fmla="*/ 62 w 610"/>
                  <a:gd name="T47" fmla="*/ 567 h 752"/>
                  <a:gd name="T48" fmla="*/ 143 w 610"/>
                  <a:gd name="T49" fmla="*/ 485 h 752"/>
                  <a:gd name="T50" fmla="*/ 234 w 610"/>
                  <a:gd name="T51" fmla="*/ 485 h 752"/>
                  <a:gd name="T52" fmla="*/ 265 w 610"/>
                  <a:gd name="T53" fmla="*/ 454 h 752"/>
                  <a:gd name="T54" fmla="*/ 265 w 610"/>
                  <a:gd name="T55" fmla="*/ 377 h 752"/>
                  <a:gd name="T56" fmla="*/ 252 w 610"/>
                  <a:gd name="T57" fmla="*/ 352 h 752"/>
                  <a:gd name="T58" fmla="*/ 209 w 610"/>
                  <a:gd name="T59" fmla="*/ 305 h 752"/>
                  <a:gd name="T60" fmla="*/ 189 w 610"/>
                  <a:gd name="T61" fmla="*/ 254 h 752"/>
                  <a:gd name="T62" fmla="*/ 189 w 610"/>
                  <a:gd name="T63" fmla="*/ 145 h 752"/>
                  <a:gd name="T64" fmla="*/ 273 w 610"/>
                  <a:gd name="T65" fmla="*/ 61 h 752"/>
                  <a:gd name="T66" fmla="*/ 337 w 610"/>
                  <a:gd name="T67" fmla="*/ 61 h 752"/>
                  <a:gd name="T68" fmla="*/ 421 w 610"/>
                  <a:gd name="T69" fmla="*/ 145 h 752"/>
                  <a:gd name="T70" fmla="*/ 421 w 610"/>
                  <a:gd name="T71" fmla="*/ 254 h 752"/>
                  <a:gd name="T72" fmla="*/ 401 w 610"/>
                  <a:gd name="T73" fmla="*/ 305 h 752"/>
                  <a:gd name="T74" fmla="*/ 358 w 610"/>
                  <a:gd name="T75" fmla="*/ 352 h 752"/>
                  <a:gd name="T76" fmla="*/ 345 w 610"/>
                  <a:gd name="T77" fmla="*/ 377 h 752"/>
                  <a:gd name="T78" fmla="*/ 345 w 610"/>
                  <a:gd name="T79" fmla="*/ 454 h 752"/>
                  <a:gd name="T80" fmla="*/ 376 w 610"/>
                  <a:gd name="T81" fmla="*/ 485 h 752"/>
                  <a:gd name="T82" fmla="*/ 467 w 610"/>
                  <a:gd name="T83" fmla="*/ 485 h 752"/>
                  <a:gd name="T84" fmla="*/ 549 w 610"/>
                  <a:gd name="T85" fmla="*/ 567 h 752"/>
                  <a:gd name="T86" fmla="*/ 549 w 610"/>
                  <a:gd name="T87" fmla="*/ 691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10" h="752">
                    <a:moveTo>
                      <a:pt x="467" y="424"/>
                    </a:moveTo>
                    <a:cubicBezTo>
                      <a:pt x="407" y="424"/>
                      <a:pt x="407" y="424"/>
                      <a:pt x="407" y="424"/>
                    </a:cubicBezTo>
                    <a:cubicBezTo>
                      <a:pt x="407" y="390"/>
                      <a:pt x="407" y="390"/>
                      <a:pt x="407" y="390"/>
                    </a:cubicBezTo>
                    <a:cubicBezTo>
                      <a:pt x="447" y="346"/>
                      <a:pt x="447" y="346"/>
                      <a:pt x="447" y="346"/>
                    </a:cubicBezTo>
                    <a:cubicBezTo>
                      <a:pt x="470" y="321"/>
                      <a:pt x="482" y="288"/>
                      <a:pt x="482" y="254"/>
                    </a:cubicBezTo>
                    <a:cubicBezTo>
                      <a:pt x="482" y="145"/>
                      <a:pt x="482" y="145"/>
                      <a:pt x="482" y="145"/>
                    </a:cubicBezTo>
                    <a:cubicBezTo>
                      <a:pt x="482" y="65"/>
                      <a:pt x="417" y="0"/>
                      <a:pt x="337" y="0"/>
                    </a:cubicBezTo>
                    <a:cubicBezTo>
                      <a:pt x="273" y="0"/>
                      <a:pt x="273" y="0"/>
                      <a:pt x="273" y="0"/>
                    </a:cubicBezTo>
                    <a:cubicBezTo>
                      <a:pt x="193" y="0"/>
                      <a:pt x="128" y="65"/>
                      <a:pt x="128" y="145"/>
                    </a:cubicBezTo>
                    <a:cubicBezTo>
                      <a:pt x="128" y="254"/>
                      <a:pt x="128" y="254"/>
                      <a:pt x="128" y="254"/>
                    </a:cubicBezTo>
                    <a:cubicBezTo>
                      <a:pt x="128" y="288"/>
                      <a:pt x="141" y="321"/>
                      <a:pt x="164" y="346"/>
                    </a:cubicBezTo>
                    <a:cubicBezTo>
                      <a:pt x="204" y="390"/>
                      <a:pt x="204" y="390"/>
                      <a:pt x="204" y="390"/>
                    </a:cubicBezTo>
                    <a:cubicBezTo>
                      <a:pt x="204" y="424"/>
                      <a:pt x="204" y="424"/>
                      <a:pt x="204" y="424"/>
                    </a:cubicBezTo>
                    <a:cubicBezTo>
                      <a:pt x="143" y="424"/>
                      <a:pt x="143" y="424"/>
                      <a:pt x="143" y="424"/>
                    </a:cubicBezTo>
                    <a:cubicBezTo>
                      <a:pt x="64" y="424"/>
                      <a:pt x="0" y="488"/>
                      <a:pt x="0" y="567"/>
                    </a:cubicBezTo>
                    <a:cubicBezTo>
                      <a:pt x="0" y="721"/>
                      <a:pt x="0" y="721"/>
                      <a:pt x="0" y="721"/>
                    </a:cubicBezTo>
                    <a:cubicBezTo>
                      <a:pt x="0" y="738"/>
                      <a:pt x="14" y="752"/>
                      <a:pt x="31" y="752"/>
                    </a:cubicBezTo>
                    <a:cubicBezTo>
                      <a:pt x="579" y="752"/>
                      <a:pt x="579" y="752"/>
                      <a:pt x="579" y="752"/>
                    </a:cubicBezTo>
                    <a:cubicBezTo>
                      <a:pt x="596" y="752"/>
                      <a:pt x="610" y="738"/>
                      <a:pt x="610" y="721"/>
                    </a:cubicBezTo>
                    <a:cubicBezTo>
                      <a:pt x="610" y="567"/>
                      <a:pt x="610" y="567"/>
                      <a:pt x="610" y="567"/>
                    </a:cubicBezTo>
                    <a:cubicBezTo>
                      <a:pt x="610" y="488"/>
                      <a:pt x="546" y="424"/>
                      <a:pt x="467" y="424"/>
                    </a:cubicBezTo>
                    <a:close/>
                    <a:moveTo>
                      <a:pt x="549" y="691"/>
                    </a:moveTo>
                    <a:cubicBezTo>
                      <a:pt x="62" y="691"/>
                      <a:pt x="62" y="691"/>
                      <a:pt x="62" y="691"/>
                    </a:cubicBezTo>
                    <a:cubicBezTo>
                      <a:pt x="62" y="567"/>
                      <a:pt x="62" y="567"/>
                      <a:pt x="62" y="567"/>
                    </a:cubicBezTo>
                    <a:cubicBezTo>
                      <a:pt x="62" y="522"/>
                      <a:pt x="98" y="485"/>
                      <a:pt x="143" y="485"/>
                    </a:cubicBezTo>
                    <a:cubicBezTo>
                      <a:pt x="234" y="485"/>
                      <a:pt x="234" y="485"/>
                      <a:pt x="234" y="485"/>
                    </a:cubicBezTo>
                    <a:cubicBezTo>
                      <a:pt x="251" y="485"/>
                      <a:pt x="265" y="471"/>
                      <a:pt x="265" y="454"/>
                    </a:cubicBezTo>
                    <a:cubicBezTo>
                      <a:pt x="265" y="377"/>
                      <a:pt x="265" y="377"/>
                      <a:pt x="265" y="377"/>
                    </a:cubicBezTo>
                    <a:cubicBezTo>
                      <a:pt x="265" y="367"/>
                      <a:pt x="260" y="358"/>
                      <a:pt x="252" y="352"/>
                    </a:cubicBezTo>
                    <a:cubicBezTo>
                      <a:pt x="209" y="305"/>
                      <a:pt x="209" y="305"/>
                      <a:pt x="209" y="305"/>
                    </a:cubicBezTo>
                    <a:cubicBezTo>
                      <a:pt x="196" y="291"/>
                      <a:pt x="189" y="273"/>
                      <a:pt x="189" y="254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9" y="99"/>
                      <a:pt x="227" y="61"/>
                      <a:pt x="273" y="61"/>
                    </a:cubicBezTo>
                    <a:cubicBezTo>
                      <a:pt x="337" y="61"/>
                      <a:pt x="337" y="61"/>
                      <a:pt x="337" y="61"/>
                    </a:cubicBezTo>
                    <a:cubicBezTo>
                      <a:pt x="383" y="61"/>
                      <a:pt x="421" y="99"/>
                      <a:pt x="421" y="145"/>
                    </a:cubicBezTo>
                    <a:cubicBezTo>
                      <a:pt x="421" y="254"/>
                      <a:pt x="421" y="254"/>
                      <a:pt x="421" y="254"/>
                    </a:cubicBezTo>
                    <a:cubicBezTo>
                      <a:pt x="421" y="273"/>
                      <a:pt x="414" y="291"/>
                      <a:pt x="401" y="305"/>
                    </a:cubicBezTo>
                    <a:cubicBezTo>
                      <a:pt x="358" y="352"/>
                      <a:pt x="358" y="352"/>
                      <a:pt x="358" y="352"/>
                    </a:cubicBezTo>
                    <a:cubicBezTo>
                      <a:pt x="350" y="358"/>
                      <a:pt x="345" y="367"/>
                      <a:pt x="345" y="377"/>
                    </a:cubicBezTo>
                    <a:cubicBezTo>
                      <a:pt x="345" y="454"/>
                      <a:pt x="345" y="454"/>
                      <a:pt x="345" y="454"/>
                    </a:cubicBezTo>
                    <a:cubicBezTo>
                      <a:pt x="345" y="471"/>
                      <a:pt x="359" y="485"/>
                      <a:pt x="376" y="485"/>
                    </a:cubicBezTo>
                    <a:cubicBezTo>
                      <a:pt x="467" y="485"/>
                      <a:pt x="467" y="485"/>
                      <a:pt x="467" y="485"/>
                    </a:cubicBezTo>
                    <a:cubicBezTo>
                      <a:pt x="512" y="485"/>
                      <a:pt x="549" y="522"/>
                      <a:pt x="549" y="567"/>
                    </a:cubicBezTo>
                    <a:cubicBezTo>
                      <a:pt x="549" y="691"/>
                      <a:pt x="549" y="691"/>
                      <a:pt x="549" y="69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7"/>
              <p:cNvSpPr>
                <a:spLocks/>
              </p:cNvSpPr>
              <p:nvPr/>
            </p:nvSpPr>
            <p:spPr bwMode="auto">
              <a:xfrm>
                <a:off x="3244850" y="3581400"/>
                <a:ext cx="227013" cy="73025"/>
              </a:xfrm>
              <a:custGeom>
                <a:avLst/>
                <a:gdLst>
                  <a:gd name="T0" fmla="*/ 30 w 1033"/>
                  <a:gd name="T1" fmla="*/ 293 h 334"/>
                  <a:gd name="T2" fmla="*/ 61 w 1033"/>
                  <a:gd name="T3" fmla="*/ 262 h 334"/>
                  <a:gd name="T4" fmla="*/ 61 w 1033"/>
                  <a:gd name="T5" fmla="*/ 199 h 334"/>
                  <a:gd name="T6" fmla="*/ 928 w 1033"/>
                  <a:gd name="T7" fmla="*/ 199 h 334"/>
                  <a:gd name="T8" fmla="*/ 846 w 1033"/>
                  <a:gd name="T9" fmla="*/ 282 h 334"/>
                  <a:gd name="T10" fmla="*/ 846 w 1033"/>
                  <a:gd name="T11" fmla="*/ 325 h 334"/>
                  <a:gd name="T12" fmla="*/ 867 w 1033"/>
                  <a:gd name="T13" fmla="*/ 334 h 334"/>
                  <a:gd name="T14" fmla="*/ 889 w 1033"/>
                  <a:gd name="T15" fmla="*/ 325 h 334"/>
                  <a:gd name="T16" fmla="*/ 1024 w 1033"/>
                  <a:gd name="T17" fmla="*/ 190 h 334"/>
                  <a:gd name="T18" fmla="*/ 1033 w 1033"/>
                  <a:gd name="T19" fmla="*/ 168 h 334"/>
                  <a:gd name="T20" fmla="*/ 1024 w 1033"/>
                  <a:gd name="T21" fmla="*/ 147 h 334"/>
                  <a:gd name="T22" fmla="*/ 889 w 1033"/>
                  <a:gd name="T23" fmla="*/ 12 h 334"/>
                  <a:gd name="T24" fmla="*/ 846 w 1033"/>
                  <a:gd name="T25" fmla="*/ 12 h 334"/>
                  <a:gd name="T26" fmla="*/ 846 w 1033"/>
                  <a:gd name="T27" fmla="*/ 55 h 334"/>
                  <a:gd name="T28" fmla="*/ 928 w 1033"/>
                  <a:gd name="T29" fmla="*/ 138 h 334"/>
                  <a:gd name="T30" fmla="*/ 30 w 1033"/>
                  <a:gd name="T31" fmla="*/ 138 h 334"/>
                  <a:gd name="T32" fmla="*/ 0 w 1033"/>
                  <a:gd name="T33" fmla="*/ 168 h 334"/>
                  <a:gd name="T34" fmla="*/ 0 w 1033"/>
                  <a:gd name="T35" fmla="*/ 262 h 334"/>
                  <a:gd name="T36" fmla="*/ 30 w 1033"/>
                  <a:gd name="T37" fmla="*/ 293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33" h="334">
                    <a:moveTo>
                      <a:pt x="30" y="293"/>
                    </a:moveTo>
                    <a:cubicBezTo>
                      <a:pt x="47" y="293"/>
                      <a:pt x="61" y="279"/>
                      <a:pt x="61" y="262"/>
                    </a:cubicBezTo>
                    <a:cubicBezTo>
                      <a:pt x="61" y="199"/>
                      <a:pt x="61" y="199"/>
                      <a:pt x="61" y="199"/>
                    </a:cubicBezTo>
                    <a:cubicBezTo>
                      <a:pt x="928" y="199"/>
                      <a:pt x="928" y="199"/>
                      <a:pt x="928" y="199"/>
                    </a:cubicBezTo>
                    <a:cubicBezTo>
                      <a:pt x="846" y="282"/>
                      <a:pt x="846" y="282"/>
                      <a:pt x="846" y="282"/>
                    </a:cubicBezTo>
                    <a:cubicBezTo>
                      <a:pt x="834" y="294"/>
                      <a:pt x="834" y="313"/>
                      <a:pt x="846" y="325"/>
                    </a:cubicBezTo>
                    <a:cubicBezTo>
                      <a:pt x="852" y="331"/>
                      <a:pt x="859" y="334"/>
                      <a:pt x="867" y="334"/>
                    </a:cubicBezTo>
                    <a:cubicBezTo>
                      <a:pt x="875" y="334"/>
                      <a:pt x="883" y="331"/>
                      <a:pt x="889" y="325"/>
                    </a:cubicBezTo>
                    <a:cubicBezTo>
                      <a:pt x="1024" y="190"/>
                      <a:pt x="1024" y="190"/>
                      <a:pt x="1024" y="190"/>
                    </a:cubicBezTo>
                    <a:cubicBezTo>
                      <a:pt x="1030" y="184"/>
                      <a:pt x="1033" y="177"/>
                      <a:pt x="1033" y="168"/>
                    </a:cubicBezTo>
                    <a:cubicBezTo>
                      <a:pt x="1033" y="160"/>
                      <a:pt x="1030" y="153"/>
                      <a:pt x="1024" y="147"/>
                    </a:cubicBezTo>
                    <a:cubicBezTo>
                      <a:pt x="889" y="12"/>
                      <a:pt x="889" y="12"/>
                      <a:pt x="889" y="12"/>
                    </a:cubicBezTo>
                    <a:cubicBezTo>
                      <a:pt x="877" y="0"/>
                      <a:pt x="858" y="0"/>
                      <a:pt x="846" y="12"/>
                    </a:cubicBezTo>
                    <a:cubicBezTo>
                      <a:pt x="834" y="24"/>
                      <a:pt x="834" y="43"/>
                      <a:pt x="846" y="55"/>
                    </a:cubicBezTo>
                    <a:cubicBezTo>
                      <a:pt x="928" y="138"/>
                      <a:pt x="928" y="138"/>
                      <a:pt x="928" y="138"/>
                    </a:cubicBezTo>
                    <a:cubicBezTo>
                      <a:pt x="30" y="138"/>
                      <a:pt x="30" y="138"/>
                      <a:pt x="30" y="138"/>
                    </a:cubicBezTo>
                    <a:cubicBezTo>
                      <a:pt x="13" y="138"/>
                      <a:pt x="0" y="152"/>
                      <a:pt x="0" y="168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0" y="279"/>
                      <a:pt x="13" y="293"/>
                      <a:pt x="30" y="2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8"/>
              <p:cNvSpPr>
                <a:spLocks/>
              </p:cNvSpPr>
              <p:nvPr/>
            </p:nvSpPr>
            <p:spPr bwMode="auto">
              <a:xfrm>
                <a:off x="3244850" y="3662363"/>
                <a:ext cx="14288" cy="131762"/>
              </a:xfrm>
              <a:custGeom>
                <a:avLst/>
                <a:gdLst>
                  <a:gd name="T0" fmla="*/ 30 w 61"/>
                  <a:gd name="T1" fmla="*/ 597 h 597"/>
                  <a:gd name="T2" fmla="*/ 61 w 61"/>
                  <a:gd name="T3" fmla="*/ 567 h 597"/>
                  <a:gd name="T4" fmla="*/ 61 w 61"/>
                  <a:gd name="T5" fmla="*/ 31 h 597"/>
                  <a:gd name="T6" fmla="*/ 30 w 61"/>
                  <a:gd name="T7" fmla="*/ 0 h 597"/>
                  <a:gd name="T8" fmla="*/ 0 w 61"/>
                  <a:gd name="T9" fmla="*/ 31 h 597"/>
                  <a:gd name="T10" fmla="*/ 0 w 61"/>
                  <a:gd name="T11" fmla="*/ 567 h 597"/>
                  <a:gd name="T12" fmla="*/ 30 w 61"/>
                  <a:gd name="T13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597">
                    <a:moveTo>
                      <a:pt x="30" y="597"/>
                    </a:moveTo>
                    <a:cubicBezTo>
                      <a:pt x="47" y="597"/>
                      <a:pt x="61" y="584"/>
                      <a:pt x="61" y="567"/>
                    </a:cubicBezTo>
                    <a:cubicBezTo>
                      <a:pt x="61" y="31"/>
                      <a:pt x="61" y="31"/>
                      <a:pt x="61" y="31"/>
                    </a:cubicBezTo>
                    <a:cubicBezTo>
                      <a:pt x="61" y="14"/>
                      <a:pt x="47" y="0"/>
                      <a:pt x="30" y="0"/>
                    </a:cubicBezTo>
                    <a:cubicBezTo>
                      <a:pt x="13" y="0"/>
                      <a:pt x="0" y="14"/>
                      <a:pt x="0" y="31"/>
                    </a:cubicBezTo>
                    <a:cubicBezTo>
                      <a:pt x="0" y="567"/>
                      <a:pt x="0" y="567"/>
                      <a:pt x="0" y="567"/>
                    </a:cubicBezTo>
                    <a:cubicBezTo>
                      <a:pt x="0" y="584"/>
                      <a:pt x="13" y="597"/>
                      <a:pt x="30" y="5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9"/>
              <p:cNvSpPr>
                <a:spLocks/>
              </p:cNvSpPr>
              <p:nvPr/>
            </p:nvSpPr>
            <p:spPr bwMode="auto">
              <a:xfrm>
                <a:off x="3314700" y="3711575"/>
                <a:ext cx="231775" cy="230187"/>
              </a:xfrm>
              <a:custGeom>
                <a:avLst/>
                <a:gdLst>
                  <a:gd name="T0" fmla="*/ 1022 w 1052"/>
                  <a:gd name="T1" fmla="*/ 0 h 1047"/>
                  <a:gd name="T2" fmla="*/ 991 w 1052"/>
                  <a:gd name="T3" fmla="*/ 31 h 1047"/>
                  <a:gd name="T4" fmla="*/ 991 w 1052"/>
                  <a:gd name="T5" fmla="*/ 850 h 1047"/>
                  <a:gd name="T6" fmla="*/ 108 w 1052"/>
                  <a:gd name="T7" fmla="*/ 850 h 1047"/>
                  <a:gd name="T8" fmla="*/ 190 w 1052"/>
                  <a:gd name="T9" fmla="*/ 767 h 1047"/>
                  <a:gd name="T10" fmla="*/ 190 w 1052"/>
                  <a:gd name="T11" fmla="*/ 724 h 1047"/>
                  <a:gd name="T12" fmla="*/ 147 w 1052"/>
                  <a:gd name="T13" fmla="*/ 724 h 1047"/>
                  <a:gd name="T14" fmla="*/ 12 w 1052"/>
                  <a:gd name="T15" fmla="*/ 859 h 1047"/>
                  <a:gd name="T16" fmla="*/ 12 w 1052"/>
                  <a:gd name="T17" fmla="*/ 903 h 1047"/>
                  <a:gd name="T18" fmla="*/ 147 w 1052"/>
                  <a:gd name="T19" fmla="*/ 1038 h 1047"/>
                  <a:gd name="T20" fmla="*/ 169 w 1052"/>
                  <a:gd name="T21" fmla="*/ 1047 h 1047"/>
                  <a:gd name="T22" fmla="*/ 190 w 1052"/>
                  <a:gd name="T23" fmla="*/ 1038 h 1047"/>
                  <a:gd name="T24" fmla="*/ 190 w 1052"/>
                  <a:gd name="T25" fmla="*/ 994 h 1047"/>
                  <a:gd name="T26" fmla="*/ 108 w 1052"/>
                  <a:gd name="T27" fmla="*/ 912 h 1047"/>
                  <a:gd name="T28" fmla="*/ 1022 w 1052"/>
                  <a:gd name="T29" fmla="*/ 912 h 1047"/>
                  <a:gd name="T30" fmla="*/ 1052 w 1052"/>
                  <a:gd name="T31" fmla="*/ 881 h 1047"/>
                  <a:gd name="T32" fmla="*/ 1052 w 1052"/>
                  <a:gd name="T33" fmla="*/ 31 h 1047"/>
                  <a:gd name="T34" fmla="*/ 1022 w 1052"/>
                  <a:gd name="T3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2" h="1047">
                    <a:moveTo>
                      <a:pt x="1022" y="0"/>
                    </a:moveTo>
                    <a:cubicBezTo>
                      <a:pt x="1005" y="0"/>
                      <a:pt x="991" y="14"/>
                      <a:pt x="991" y="31"/>
                    </a:cubicBezTo>
                    <a:cubicBezTo>
                      <a:pt x="991" y="850"/>
                      <a:pt x="991" y="850"/>
                      <a:pt x="991" y="850"/>
                    </a:cubicBezTo>
                    <a:cubicBezTo>
                      <a:pt x="108" y="850"/>
                      <a:pt x="108" y="850"/>
                      <a:pt x="108" y="850"/>
                    </a:cubicBezTo>
                    <a:cubicBezTo>
                      <a:pt x="190" y="767"/>
                      <a:pt x="190" y="767"/>
                      <a:pt x="190" y="767"/>
                    </a:cubicBezTo>
                    <a:cubicBezTo>
                      <a:pt x="202" y="755"/>
                      <a:pt x="202" y="736"/>
                      <a:pt x="190" y="724"/>
                    </a:cubicBezTo>
                    <a:cubicBezTo>
                      <a:pt x="178" y="712"/>
                      <a:pt x="159" y="712"/>
                      <a:pt x="147" y="724"/>
                    </a:cubicBezTo>
                    <a:cubicBezTo>
                      <a:pt x="12" y="859"/>
                      <a:pt x="12" y="859"/>
                      <a:pt x="12" y="859"/>
                    </a:cubicBezTo>
                    <a:cubicBezTo>
                      <a:pt x="0" y="871"/>
                      <a:pt x="0" y="891"/>
                      <a:pt x="12" y="903"/>
                    </a:cubicBezTo>
                    <a:cubicBezTo>
                      <a:pt x="147" y="1038"/>
                      <a:pt x="147" y="1038"/>
                      <a:pt x="147" y="1038"/>
                    </a:cubicBezTo>
                    <a:cubicBezTo>
                      <a:pt x="153" y="1044"/>
                      <a:pt x="161" y="1047"/>
                      <a:pt x="169" y="1047"/>
                    </a:cubicBezTo>
                    <a:cubicBezTo>
                      <a:pt x="177" y="1047"/>
                      <a:pt x="184" y="1044"/>
                      <a:pt x="190" y="1038"/>
                    </a:cubicBezTo>
                    <a:cubicBezTo>
                      <a:pt x="202" y="1026"/>
                      <a:pt x="202" y="1006"/>
                      <a:pt x="190" y="994"/>
                    </a:cubicBezTo>
                    <a:cubicBezTo>
                      <a:pt x="108" y="912"/>
                      <a:pt x="108" y="912"/>
                      <a:pt x="108" y="912"/>
                    </a:cubicBezTo>
                    <a:cubicBezTo>
                      <a:pt x="1022" y="912"/>
                      <a:pt x="1022" y="912"/>
                      <a:pt x="1022" y="912"/>
                    </a:cubicBezTo>
                    <a:cubicBezTo>
                      <a:pt x="1039" y="912"/>
                      <a:pt x="1052" y="898"/>
                      <a:pt x="1052" y="881"/>
                    </a:cubicBezTo>
                    <a:cubicBezTo>
                      <a:pt x="1052" y="31"/>
                      <a:pt x="1052" y="31"/>
                      <a:pt x="1052" y="31"/>
                    </a:cubicBezTo>
                    <a:cubicBezTo>
                      <a:pt x="1052" y="14"/>
                      <a:pt x="1039" y="0"/>
                      <a:pt x="102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3373438" y="3694113"/>
                <a:ext cx="66675" cy="93662"/>
              </a:xfrm>
              <a:custGeom>
                <a:avLst/>
                <a:gdLst>
                  <a:gd name="T0" fmla="*/ 303 w 306"/>
                  <a:gd name="T1" fmla="*/ 147 h 420"/>
                  <a:gd name="T2" fmla="*/ 158 w 306"/>
                  <a:gd name="T3" fmla="*/ 1 h 420"/>
                  <a:gd name="T4" fmla="*/ 46 w 306"/>
                  <a:gd name="T5" fmla="*/ 44 h 420"/>
                  <a:gd name="T6" fmla="*/ 0 w 306"/>
                  <a:gd name="T7" fmla="*/ 153 h 420"/>
                  <a:gd name="T8" fmla="*/ 31 w 306"/>
                  <a:gd name="T9" fmla="*/ 184 h 420"/>
                  <a:gd name="T10" fmla="*/ 61 w 306"/>
                  <a:gd name="T11" fmla="*/ 153 h 420"/>
                  <a:gd name="T12" fmla="*/ 89 w 306"/>
                  <a:gd name="T13" fmla="*/ 88 h 420"/>
                  <a:gd name="T14" fmla="*/ 155 w 306"/>
                  <a:gd name="T15" fmla="*/ 63 h 420"/>
                  <a:gd name="T16" fmla="*/ 242 w 306"/>
                  <a:gd name="T17" fmla="*/ 150 h 420"/>
                  <a:gd name="T18" fmla="*/ 176 w 306"/>
                  <a:gd name="T19" fmla="*/ 240 h 420"/>
                  <a:gd name="T20" fmla="*/ 121 w 306"/>
                  <a:gd name="T21" fmla="*/ 312 h 420"/>
                  <a:gd name="T22" fmla="*/ 121 w 306"/>
                  <a:gd name="T23" fmla="*/ 389 h 420"/>
                  <a:gd name="T24" fmla="*/ 152 w 306"/>
                  <a:gd name="T25" fmla="*/ 420 h 420"/>
                  <a:gd name="T26" fmla="*/ 182 w 306"/>
                  <a:gd name="T27" fmla="*/ 389 h 420"/>
                  <a:gd name="T28" fmla="*/ 182 w 306"/>
                  <a:gd name="T29" fmla="*/ 312 h 420"/>
                  <a:gd name="T30" fmla="*/ 192 w 306"/>
                  <a:gd name="T31" fmla="*/ 300 h 420"/>
                  <a:gd name="T32" fmla="*/ 303 w 306"/>
                  <a:gd name="T33" fmla="*/ 147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6" h="420">
                    <a:moveTo>
                      <a:pt x="303" y="147"/>
                    </a:moveTo>
                    <a:cubicBezTo>
                      <a:pt x="300" y="68"/>
                      <a:pt x="236" y="4"/>
                      <a:pt x="158" y="1"/>
                    </a:cubicBezTo>
                    <a:cubicBezTo>
                      <a:pt x="116" y="0"/>
                      <a:pt x="76" y="15"/>
                      <a:pt x="46" y="44"/>
                    </a:cubicBezTo>
                    <a:cubicBezTo>
                      <a:pt x="16" y="73"/>
                      <a:pt x="0" y="111"/>
                      <a:pt x="0" y="153"/>
                    </a:cubicBezTo>
                    <a:cubicBezTo>
                      <a:pt x="0" y="170"/>
                      <a:pt x="14" y="184"/>
                      <a:pt x="31" y="184"/>
                    </a:cubicBezTo>
                    <a:cubicBezTo>
                      <a:pt x="48" y="184"/>
                      <a:pt x="61" y="170"/>
                      <a:pt x="61" y="153"/>
                    </a:cubicBezTo>
                    <a:cubicBezTo>
                      <a:pt x="61" y="128"/>
                      <a:pt x="71" y="105"/>
                      <a:pt x="89" y="88"/>
                    </a:cubicBezTo>
                    <a:cubicBezTo>
                      <a:pt x="107" y="71"/>
                      <a:pt x="130" y="62"/>
                      <a:pt x="155" y="63"/>
                    </a:cubicBezTo>
                    <a:cubicBezTo>
                      <a:pt x="202" y="65"/>
                      <a:pt x="240" y="103"/>
                      <a:pt x="242" y="150"/>
                    </a:cubicBezTo>
                    <a:cubicBezTo>
                      <a:pt x="244" y="192"/>
                      <a:pt x="216" y="229"/>
                      <a:pt x="176" y="240"/>
                    </a:cubicBezTo>
                    <a:cubicBezTo>
                      <a:pt x="143" y="249"/>
                      <a:pt x="121" y="278"/>
                      <a:pt x="121" y="312"/>
                    </a:cubicBezTo>
                    <a:cubicBezTo>
                      <a:pt x="121" y="389"/>
                      <a:pt x="121" y="389"/>
                      <a:pt x="121" y="389"/>
                    </a:cubicBezTo>
                    <a:cubicBezTo>
                      <a:pt x="121" y="406"/>
                      <a:pt x="135" y="420"/>
                      <a:pt x="152" y="420"/>
                    </a:cubicBezTo>
                    <a:cubicBezTo>
                      <a:pt x="169" y="420"/>
                      <a:pt x="182" y="406"/>
                      <a:pt x="182" y="389"/>
                    </a:cubicBezTo>
                    <a:cubicBezTo>
                      <a:pt x="182" y="312"/>
                      <a:pt x="182" y="312"/>
                      <a:pt x="182" y="312"/>
                    </a:cubicBezTo>
                    <a:cubicBezTo>
                      <a:pt x="182" y="306"/>
                      <a:pt x="186" y="301"/>
                      <a:pt x="192" y="300"/>
                    </a:cubicBezTo>
                    <a:cubicBezTo>
                      <a:pt x="260" y="281"/>
                      <a:pt x="306" y="218"/>
                      <a:pt x="303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1"/>
              <p:cNvSpPr>
                <a:spLocks noEditPoints="1"/>
              </p:cNvSpPr>
              <p:nvPr/>
            </p:nvSpPr>
            <p:spPr bwMode="auto">
              <a:xfrm>
                <a:off x="3392488" y="3790950"/>
                <a:ext cx="28575" cy="28575"/>
              </a:xfrm>
              <a:custGeom>
                <a:avLst/>
                <a:gdLst>
                  <a:gd name="T0" fmla="*/ 0 w 128"/>
                  <a:gd name="T1" fmla="*/ 65 h 129"/>
                  <a:gd name="T2" fmla="*/ 64 w 128"/>
                  <a:gd name="T3" fmla="*/ 129 h 129"/>
                  <a:gd name="T4" fmla="*/ 128 w 128"/>
                  <a:gd name="T5" fmla="*/ 65 h 129"/>
                  <a:gd name="T6" fmla="*/ 64 w 128"/>
                  <a:gd name="T7" fmla="*/ 0 h 129"/>
                  <a:gd name="T8" fmla="*/ 0 w 128"/>
                  <a:gd name="T9" fmla="*/ 65 h 129"/>
                  <a:gd name="T10" fmla="*/ 67 w 128"/>
                  <a:gd name="T11" fmla="*/ 65 h 129"/>
                  <a:gd name="T12" fmla="*/ 64 w 128"/>
                  <a:gd name="T13" fmla="*/ 68 h 129"/>
                  <a:gd name="T14" fmla="*/ 61 w 128"/>
                  <a:gd name="T15" fmla="*/ 65 h 129"/>
                  <a:gd name="T16" fmla="*/ 64 w 128"/>
                  <a:gd name="T17" fmla="*/ 62 h 129"/>
                  <a:gd name="T18" fmla="*/ 67 w 128"/>
                  <a:gd name="T1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129">
                    <a:moveTo>
                      <a:pt x="0" y="65"/>
                    </a:moveTo>
                    <a:cubicBezTo>
                      <a:pt x="0" y="100"/>
                      <a:pt x="28" y="129"/>
                      <a:pt x="64" y="129"/>
                    </a:cubicBezTo>
                    <a:cubicBezTo>
                      <a:pt x="99" y="129"/>
                      <a:pt x="128" y="100"/>
                      <a:pt x="128" y="65"/>
                    </a:cubicBezTo>
                    <a:cubicBezTo>
                      <a:pt x="128" y="29"/>
                      <a:pt x="99" y="0"/>
                      <a:pt x="64" y="0"/>
                    </a:cubicBezTo>
                    <a:cubicBezTo>
                      <a:pt x="28" y="0"/>
                      <a:pt x="0" y="29"/>
                      <a:pt x="0" y="65"/>
                    </a:cubicBezTo>
                    <a:close/>
                    <a:moveTo>
                      <a:pt x="67" y="65"/>
                    </a:moveTo>
                    <a:cubicBezTo>
                      <a:pt x="67" y="66"/>
                      <a:pt x="65" y="68"/>
                      <a:pt x="64" y="68"/>
                    </a:cubicBezTo>
                    <a:cubicBezTo>
                      <a:pt x="62" y="68"/>
                      <a:pt x="61" y="66"/>
                      <a:pt x="61" y="65"/>
                    </a:cubicBezTo>
                    <a:cubicBezTo>
                      <a:pt x="61" y="63"/>
                      <a:pt x="62" y="62"/>
                      <a:pt x="64" y="62"/>
                    </a:cubicBezTo>
                    <a:cubicBezTo>
                      <a:pt x="65" y="62"/>
                      <a:pt x="67" y="63"/>
                      <a:pt x="67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7493428" y="1060567"/>
            <a:ext cx="615370" cy="615370"/>
            <a:chOff x="4975860" y="2735769"/>
            <a:chExt cx="429260" cy="429260"/>
          </a:xfrm>
        </p:grpSpPr>
        <p:sp>
          <p:nvSpPr>
            <p:cNvPr id="87" name="Oval 86"/>
            <p:cNvSpPr/>
            <p:nvPr/>
          </p:nvSpPr>
          <p:spPr>
            <a:xfrm>
              <a:off x="4975860" y="2735769"/>
              <a:ext cx="429260" cy="429260"/>
            </a:xfrm>
            <a:prstGeom prst="ellipse">
              <a:avLst/>
            </a:prstGeom>
            <a:solidFill>
              <a:schemeClr val="accent3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050463" y="2862769"/>
              <a:ext cx="280054" cy="175260"/>
              <a:chOff x="6473825" y="5678488"/>
              <a:chExt cx="492126" cy="307976"/>
            </a:xfrm>
            <a:solidFill>
              <a:schemeClr val="tx2"/>
            </a:solidFill>
          </p:grpSpPr>
          <p:sp>
            <p:nvSpPr>
              <p:cNvPr id="76" name="Freeform 57"/>
              <p:cNvSpPr>
                <a:spLocks/>
              </p:cNvSpPr>
              <p:nvPr/>
            </p:nvSpPr>
            <p:spPr bwMode="auto">
              <a:xfrm>
                <a:off x="6543675" y="5689601"/>
                <a:ext cx="325438" cy="296863"/>
              </a:xfrm>
              <a:custGeom>
                <a:avLst/>
                <a:gdLst>
                  <a:gd name="T0" fmla="*/ 731 w 1352"/>
                  <a:gd name="T1" fmla="*/ 1236 h 1236"/>
                  <a:gd name="T2" fmla="*/ 580 w 1352"/>
                  <a:gd name="T3" fmla="*/ 1186 h 1236"/>
                  <a:gd name="T4" fmla="*/ 192 w 1352"/>
                  <a:gd name="T5" fmla="*/ 885 h 1236"/>
                  <a:gd name="T6" fmla="*/ 88 w 1352"/>
                  <a:gd name="T7" fmla="*/ 782 h 1236"/>
                  <a:gd name="T8" fmla="*/ 21 w 1352"/>
                  <a:gd name="T9" fmla="*/ 714 h 1236"/>
                  <a:gd name="T10" fmla="*/ 16 w 1352"/>
                  <a:gd name="T11" fmla="*/ 654 h 1236"/>
                  <a:gd name="T12" fmla="*/ 76 w 1352"/>
                  <a:gd name="T13" fmla="*/ 649 h 1236"/>
                  <a:gd name="T14" fmla="*/ 149 w 1352"/>
                  <a:gd name="T15" fmla="*/ 723 h 1236"/>
                  <a:gd name="T16" fmla="*/ 246 w 1352"/>
                  <a:gd name="T17" fmla="*/ 819 h 1236"/>
                  <a:gd name="T18" fmla="*/ 626 w 1352"/>
                  <a:gd name="T19" fmla="*/ 1115 h 1236"/>
                  <a:gd name="T20" fmla="*/ 731 w 1352"/>
                  <a:gd name="T21" fmla="*/ 1151 h 1236"/>
                  <a:gd name="T22" fmla="*/ 776 w 1352"/>
                  <a:gd name="T23" fmla="*/ 1136 h 1236"/>
                  <a:gd name="T24" fmla="*/ 806 w 1352"/>
                  <a:gd name="T25" fmla="*/ 1109 h 1236"/>
                  <a:gd name="T26" fmla="*/ 845 w 1352"/>
                  <a:gd name="T27" fmla="*/ 1119 h 1236"/>
                  <a:gd name="T28" fmla="*/ 894 w 1352"/>
                  <a:gd name="T29" fmla="*/ 1127 h 1236"/>
                  <a:gd name="T30" fmla="*/ 945 w 1352"/>
                  <a:gd name="T31" fmla="*/ 1061 h 1236"/>
                  <a:gd name="T32" fmla="*/ 972 w 1352"/>
                  <a:gd name="T33" fmla="*/ 1025 h 1236"/>
                  <a:gd name="T34" fmla="*/ 1016 w 1352"/>
                  <a:gd name="T35" fmla="*/ 1034 h 1236"/>
                  <a:gd name="T36" fmla="*/ 1083 w 1352"/>
                  <a:gd name="T37" fmla="*/ 1033 h 1236"/>
                  <a:gd name="T38" fmla="*/ 1115 w 1352"/>
                  <a:gd name="T39" fmla="*/ 985 h 1236"/>
                  <a:gd name="T40" fmla="*/ 1136 w 1352"/>
                  <a:gd name="T41" fmla="*/ 943 h 1236"/>
                  <a:gd name="T42" fmla="*/ 1182 w 1352"/>
                  <a:gd name="T43" fmla="*/ 945 h 1236"/>
                  <a:gd name="T44" fmla="*/ 1234 w 1352"/>
                  <a:gd name="T45" fmla="*/ 935 h 1236"/>
                  <a:gd name="T46" fmla="*/ 1247 w 1352"/>
                  <a:gd name="T47" fmla="*/ 871 h 1236"/>
                  <a:gd name="T48" fmla="*/ 947 w 1352"/>
                  <a:gd name="T49" fmla="*/ 587 h 1236"/>
                  <a:gd name="T50" fmla="*/ 763 w 1352"/>
                  <a:gd name="T51" fmla="*/ 432 h 1236"/>
                  <a:gd name="T52" fmla="*/ 734 w 1352"/>
                  <a:gd name="T53" fmla="*/ 445 h 1236"/>
                  <a:gd name="T54" fmla="*/ 669 w 1352"/>
                  <a:gd name="T55" fmla="*/ 465 h 1236"/>
                  <a:gd name="T56" fmla="*/ 419 w 1352"/>
                  <a:gd name="T57" fmla="*/ 551 h 1236"/>
                  <a:gd name="T58" fmla="*/ 346 w 1352"/>
                  <a:gd name="T59" fmla="*/ 474 h 1236"/>
                  <a:gd name="T60" fmla="*/ 463 w 1352"/>
                  <a:gd name="T61" fmla="*/ 211 h 1236"/>
                  <a:gd name="T62" fmla="*/ 919 w 1352"/>
                  <a:gd name="T63" fmla="*/ 88 h 1236"/>
                  <a:gd name="T64" fmla="*/ 1257 w 1352"/>
                  <a:gd name="T65" fmla="*/ 222 h 1236"/>
                  <a:gd name="T66" fmla="*/ 1283 w 1352"/>
                  <a:gd name="T67" fmla="*/ 277 h 1236"/>
                  <a:gd name="T68" fmla="*/ 1229 w 1352"/>
                  <a:gd name="T69" fmla="*/ 303 h 1236"/>
                  <a:gd name="T70" fmla="*/ 884 w 1352"/>
                  <a:gd name="T71" fmla="*/ 166 h 1236"/>
                  <a:gd name="T72" fmla="*/ 523 w 1352"/>
                  <a:gd name="T73" fmla="*/ 272 h 1236"/>
                  <a:gd name="T74" fmla="*/ 429 w 1352"/>
                  <a:gd name="T75" fmla="*/ 455 h 1236"/>
                  <a:gd name="T76" fmla="*/ 446 w 1352"/>
                  <a:gd name="T77" fmla="*/ 470 h 1236"/>
                  <a:gd name="T78" fmla="*/ 610 w 1352"/>
                  <a:gd name="T79" fmla="*/ 402 h 1236"/>
                  <a:gd name="T80" fmla="*/ 641 w 1352"/>
                  <a:gd name="T81" fmla="*/ 383 h 1236"/>
                  <a:gd name="T82" fmla="*/ 699 w 1352"/>
                  <a:gd name="T83" fmla="*/ 367 h 1236"/>
                  <a:gd name="T84" fmla="*/ 759 w 1352"/>
                  <a:gd name="T85" fmla="*/ 343 h 1236"/>
                  <a:gd name="T86" fmla="*/ 804 w 1352"/>
                  <a:gd name="T87" fmla="*/ 353 h 1236"/>
                  <a:gd name="T88" fmla="*/ 1001 w 1352"/>
                  <a:gd name="T89" fmla="*/ 521 h 1236"/>
                  <a:gd name="T90" fmla="*/ 1324 w 1352"/>
                  <a:gd name="T91" fmla="*/ 834 h 1236"/>
                  <a:gd name="T92" fmla="*/ 1290 w 1352"/>
                  <a:gd name="T93" fmla="*/ 1000 h 1236"/>
                  <a:gd name="T94" fmla="*/ 1192 w 1352"/>
                  <a:gd name="T95" fmla="*/ 1035 h 1236"/>
                  <a:gd name="T96" fmla="*/ 1121 w 1352"/>
                  <a:gd name="T97" fmla="*/ 1109 h 1236"/>
                  <a:gd name="T98" fmla="*/ 1014 w 1352"/>
                  <a:gd name="T99" fmla="*/ 1124 h 1236"/>
                  <a:gd name="T100" fmla="*/ 925 w 1352"/>
                  <a:gd name="T101" fmla="*/ 1206 h 1236"/>
                  <a:gd name="T102" fmla="*/ 828 w 1352"/>
                  <a:gd name="T103" fmla="*/ 1207 h 1236"/>
                  <a:gd name="T104" fmla="*/ 731 w 1352"/>
                  <a:gd name="T105" fmla="*/ 1236 h 1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52" h="1236">
                    <a:moveTo>
                      <a:pt x="731" y="1236"/>
                    </a:moveTo>
                    <a:cubicBezTo>
                      <a:pt x="679" y="1236"/>
                      <a:pt x="611" y="1207"/>
                      <a:pt x="580" y="1186"/>
                    </a:cubicBezTo>
                    <a:cubicBezTo>
                      <a:pt x="541" y="1161"/>
                      <a:pt x="350" y="1018"/>
                      <a:pt x="192" y="885"/>
                    </a:cubicBezTo>
                    <a:cubicBezTo>
                      <a:pt x="165" y="862"/>
                      <a:pt x="126" y="821"/>
                      <a:pt x="88" y="782"/>
                    </a:cubicBezTo>
                    <a:cubicBezTo>
                      <a:pt x="60" y="752"/>
                      <a:pt x="34" y="725"/>
                      <a:pt x="21" y="714"/>
                    </a:cubicBezTo>
                    <a:cubicBezTo>
                      <a:pt x="3" y="699"/>
                      <a:pt x="0" y="672"/>
                      <a:pt x="16" y="654"/>
                    </a:cubicBezTo>
                    <a:cubicBezTo>
                      <a:pt x="31" y="636"/>
                      <a:pt x="58" y="633"/>
                      <a:pt x="76" y="649"/>
                    </a:cubicBezTo>
                    <a:cubicBezTo>
                      <a:pt x="90" y="661"/>
                      <a:pt x="119" y="690"/>
                      <a:pt x="149" y="723"/>
                    </a:cubicBezTo>
                    <a:cubicBezTo>
                      <a:pt x="184" y="759"/>
                      <a:pt x="224" y="800"/>
                      <a:pt x="246" y="819"/>
                    </a:cubicBezTo>
                    <a:cubicBezTo>
                      <a:pt x="409" y="955"/>
                      <a:pt x="597" y="1095"/>
                      <a:pt x="626" y="1115"/>
                    </a:cubicBezTo>
                    <a:cubicBezTo>
                      <a:pt x="651" y="1131"/>
                      <a:pt x="703" y="1151"/>
                      <a:pt x="731" y="1151"/>
                    </a:cubicBezTo>
                    <a:cubicBezTo>
                      <a:pt x="771" y="1151"/>
                      <a:pt x="775" y="1140"/>
                      <a:pt x="776" y="1136"/>
                    </a:cubicBezTo>
                    <a:cubicBezTo>
                      <a:pt x="781" y="1123"/>
                      <a:pt x="792" y="1113"/>
                      <a:pt x="806" y="1109"/>
                    </a:cubicBezTo>
                    <a:cubicBezTo>
                      <a:pt x="820" y="1106"/>
                      <a:pt x="835" y="1110"/>
                      <a:pt x="845" y="1119"/>
                    </a:cubicBezTo>
                    <a:cubicBezTo>
                      <a:pt x="862" y="1135"/>
                      <a:pt x="881" y="1132"/>
                      <a:pt x="894" y="1127"/>
                    </a:cubicBezTo>
                    <a:cubicBezTo>
                      <a:pt x="921" y="1116"/>
                      <a:pt x="942" y="1089"/>
                      <a:pt x="945" y="1061"/>
                    </a:cubicBezTo>
                    <a:cubicBezTo>
                      <a:pt x="946" y="1045"/>
                      <a:pt x="957" y="1031"/>
                      <a:pt x="972" y="1025"/>
                    </a:cubicBezTo>
                    <a:cubicBezTo>
                      <a:pt x="987" y="1020"/>
                      <a:pt x="1004" y="1023"/>
                      <a:pt x="1016" y="1034"/>
                    </a:cubicBezTo>
                    <a:cubicBezTo>
                      <a:pt x="1027" y="1044"/>
                      <a:pt x="1055" y="1046"/>
                      <a:pt x="1083" y="1033"/>
                    </a:cubicBezTo>
                    <a:cubicBezTo>
                      <a:pt x="1093" y="1027"/>
                      <a:pt x="1118" y="1012"/>
                      <a:pt x="1115" y="985"/>
                    </a:cubicBezTo>
                    <a:cubicBezTo>
                      <a:pt x="1113" y="968"/>
                      <a:pt x="1121" y="952"/>
                      <a:pt x="1136" y="943"/>
                    </a:cubicBezTo>
                    <a:cubicBezTo>
                      <a:pt x="1150" y="935"/>
                      <a:pt x="1168" y="935"/>
                      <a:pt x="1182" y="945"/>
                    </a:cubicBezTo>
                    <a:cubicBezTo>
                      <a:pt x="1194" y="954"/>
                      <a:pt x="1218" y="949"/>
                      <a:pt x="1234" y="935"/>
                    </a:cubicBezTo>
                    <a:cubicBezTo>
                      <a:pt x="1246" y="925"/>
                      <a:pt x="1263" y="903"/>
                      <a:pt x="1247" y="871"/>
                    </a:cubicBezTo>
                    <a:cubicBezTo>
                      <a:pt x="1215" y="804"/>
                      <a:pt x="1073" y="689"/>
                      <a:pt x="947" y="587"/>
                    </a:cubicBezTo>
                    <a:cubicBezTo>
                      <a:pt x="878" y="531"/>
                      <a:pt x="812" y="478"/>
                      <a:pt x="763" y="432"/>
                    </a:cubicBezTo>
                    <a:cubicBezTo>
                      <a:pt x="751" y="437"/>
                      <a:pt x="742" y="441"/>
                      <a:pt x="734" y="445"/>
                    </a:cubicBezTo>
                    <a:cubicBezTo>
                      <a:pt x="711" y="455"/>
                      <a:pt x="697" y="461"/>
                      <a:pt x="669" y="465"/>
                    </a:cubicBezTo>
                    <a:cubicBezTo>
                      <a:pt x="604" y="553"/>
                      <a:pt x="516" y="583"/>
                      <a:pt x="419" y="551"/>
                    </a:cubicBezTo>
                    <a:cubicBezTo>
                      <a:pt x="380" y="538"/>
                      <a:pt x="354" y="511"/>
                      <a:pt x="346" y="474"/>
                    </a:cubicBezTo>
                    <a:cubicBezTo>
                      <a:pt x="325" y="388"/>
                      <a:pt x="404" y="270"/>
                      <a:pt x="463" y="211"/>
                    </a:cubicBezTo>
                    <a:cubicBezTo>
                      <a:pt x="616" y="58"/>
                      <a:pt x="723" y="0"/>
                      <a:pt x="919" y="88"/>
                    </a:cubicBezTo>
                    <a:cubicBezTo>
                      <a:pt x="1087" y="163"/>
                      <a:pt x="1255" y="222"/>
                      <a:pt x="1257" y="222"/>
                    </a:cubicBezTo>
                    <a:cubicBezTo>
                      <a:pt x="1279" y="230"/>
                      <a:pt x="1291" y="254"/>
                      <a:pt x="1283" y="277"/>
                    </a:cubicBezTo>
                    <a:cubicBezTo>
                      <a:pt x="1276" y="299"/>
                      <a:pt x="1251" y="311"/>
                      <a:pt x="1229" y="303"/>
                    </a:cubicBezTo>
                    <a:cubicBezTo>
                      <a:pt x="1227" y="302"/>
                      <a:pt x="1056" y="242"/>
                      <a:pt x="884" y="166"/>
                    </a:cubicBezTo>
                    <a:cubicBezTo>
                      <a:pt x="733" y="98"/>
                      <a:pt x="662" y="133"/>
                      <a:pt x="523" y="272"/>
                    </a:cubicBezTo>
                    <a:cubicBezTo>
                      <a:pt x="465" y="330"/>
                      <a:pt x="420" y="417"/>
                      <a:pt x="429" y="455"/>
                    </a:cubicBezTo>
                    <a:cubicBezTo>
                      <a:pt x="430" y="460"/>
                      <a:pt x="432" y="466"/>
                      <a:pt x="446" y="470"/>
                    </a:cubicBezTo>
                    <a:cubicBezTo>
                      <a:pt x="487" y="484"/>
                      <a:pt x="550" y="492"/>
                      <a:pt x="610" y="402"/>
                    </a:cubicBezTo>
                    <a:cubicBezTo>
                      <a:pt x="617" y="391"/>
                      <a:pt x="629" y="384"/>
                      <a:pt x="641" y="383"/>
                    </a:cubicBezTo>
                    <a:cubicBezTo>
                      <a:pt x="670" y="380"/>
                      <a:pt x="677" y="377"/>
                      <a:pt x="699" y="367"/>
                    </a:cubicBezTo>
                    <a:cubicBezTo>
                      <a:pt x="713" y="361"/>
                      <a:pt x="730" y="353"/>
                      <a:pt x="759" y="343"/>
                    </a:cubicBezTo>
                    <a:cubicBezTo>
                      <a:pt x="775" y="337"/>
                      <a:pt x="792" y="341"/>
                      <a:pt x="804" y="353"/>
                    </a:cubicBezTo>
                    <a:cubicBezTo>
                      <a:pt x="850" y="399"/>
                      <a:pt x="924" y="459"/>
                      <a:pt x="1001" y="521"/>
                    </a:cubicBezTo>
                    <a:cubicBezTo>
                      <a:pt x="1140" y="634"/>
                      <a:pt x="1284" y="750"/>
                      <a:pt x="1324" y="834"/>
                    </a:cubicBezTo>
                    <a:cubicBezTo>
                      <a:pt x="1352" y="892"/>
                      <a:pt x="1339" y="958"/>
                      <a:pt x="1290" y="1000"/>
                    </a:cubicBezTo>
                    <a:cubicBezTo>
                      <a:pt x="1261" y="1024"/>
                      <a:pt x="1226" y="1036"/>
                      <a:pt x="1192" y="1035"/>
                    </a:cubicBezTo>
                    <a:cubicBezTo>
                      <a:pt x="1180" y="1065"/>
                      <a:pt x="1155" y="1092"/>
                      <a:pt x="1121" y="1109"/>
                    </a:cubicBezTo>
                    <a:cubicBezTo>
                      <a:pt x="1086" y="1127"/>
                      <a:pt x="1047" y="1132"/>
                      <a:pt x="1014" y="1124"/>
                    </a:cubicBezTo>
                    <a:cubicBezTo>
                      <a:pt x="996" y="1161"/>
                      <a:pt x="964" y="1191"/>
                      <a:pt x="925" y="1206"/>
                    </a:cubicBezTo>
                    <a:cubicBezTo>
                      <a:pt x="892" y="1219"/>
                      <a:pt x="858" y="1219"/>
                      <a:pt x="828" y="1207"/>
                    </a:cubicBezTo>
                    <a:cubicBezTo>
                      <a:pt x="805" y="1226"/>
                      <a:pt x="773" y="1236"/>
                      <a:pt x="731" y="12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58"/>
              <p:cNvSpPr>
                <a:spLocks/>
              </p:cNvSpPr>
              <p:nvPr/>
            </p:nvSpPr>
            <p:spPr bwMode="auto">
              <a:xfrm>
                <a:off x="6577013" y="5719763"/>
                <a:ext cx="112713" cy="20638"/>
              </a:xfrm>
              <a:custGeom>
                <a:avLst/>
                <a:gdLst>
                  <a:gd name="T0" fmla="*/ 426 w 469"/>
                  <a:gd name="T1" fmla="*/ 85 h 85"/>
                  <a:gd name="T2" fmla="*/ 42 w 469"/>
                  <a:gd name="T3" fmla="*/ 85 h 85"/>
                  <a:gd name="T4" fmla="*/ 0 w 469"/>
                  <a:gd name="T5" fmla="*/ 42 h 85"/>
                  <a:gd name="T6" fmla="*/ 42 w 469"/>
                  <a:gd name="T7" fmla="*/ 0 h 85"/>
                  <a:gd name="T8" fmla="*/ 426 w 469"/>
                  <a:gd name="T9" fmla="*/ 0 h 85"/>
                  <a:gd name="T10" fmla="*/ 469 w 469"/>
                  <a:gd name="T11" fmla="*/ 42 h 85"/>
                  <a:gd name="T12" fmla="*/ 426 w 469"/>
                  <a:gd name="T13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85">
                    <a:moveTo>
                      <a:pt x="426" y="85"/>
                    </a:moveTo>
                    <a:cubicBezTo>
                      <a:pt x="42" y="85"/>
                      <a:pt x="42" y="85"/>
                      <a:pt x="42" y="85"/>
                    </a:cubicBezTo>
                    <a:cubicBezTo>
                      <a:pt x="19" y="85"/>
                      <a:pt x="0" y="66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50" y="0"/>
                      <a:pt x="469" y="19"/>
                      <a:pt x="469" y="42"/>
                    </a:cubicBezTo>
                    <a:cubicBezTo>
                      <a:pt x="469" y="66"/>
                      <a:pt x="450" y="85"/>
                      <a:pt x="42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59"/>
              <p:cNvSpPr>
                <a:spLocks/>
              </p:cNvSpPr>
              <p:nvPr/>
            </p:nvSpPr>
            <p:spPr bwMode="auto">
              <a:xfrm>
                <a:off x="6842125" y="5862638"/>
                <a:ext cx="53975" cy="41275"/>
              </a:xfrm>
              <a:custGeom>
                <a:avLst/>
                <a:gdLst>
                  <a:gd name="T0" fmla="*/ 49 w 222"/>
                  <a:gd name="T1" fmla="*/ 175 h 175"/>
                  <a:gd name="T2" fmla="*/ 13 w 222"/>
                  <a:gd name="T3" fmla="*/ 156 h 175"/>
                  <a:gd name="T4" fmla="*/ 25 w 222"/>
                  <a:gd name="T5" fmla="*/ 97 h 175"/>
                  <a:gd name="T6" fmla="*/ 150 w 222"/>
                  <a:gd name="T7" fmla="*/ 13 h 175"/>
                  <a:gd name="T8" fmla="*/ 209 w 222"/>
                  <a:gd name="T9" fmla="*/ 25 h 175"/>
                  <a:gd name="T10" fmla="*/ 197 w 222"/>
                  <a:gd name="T11" fmla="*/ 84 h 175"/>
                  <a:gd name="T12" fmla="*/ 73 w 222"/>
                  <a:gd name="T13" fmla="*/ 168 h 175"/>
                  <a:gd name="T14" fmla="*/ 49 w 222"/>
                  <a:gd name="T15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175">
                    <a:moveTo>
                      <a:pt x="49" y="175"/>
                    </a:moveTo>
                    <a:cubicBezTo>
                      <a:pt x="35" y="175"/>
                      <a:pt x="22" y="168"/>
                      <a:pt x="13" y="156"/>
                    </a:cubicBezTo>
                    <a:cubicBezTo>
                      <a:pt x="0" y="137"/>
                      <a:pt x="6" y="110"/>
                      <a:pt x="25" y="97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69" y="0"/>
                      <a:pt x="196" y="5"/>
                      <a:pt x="209" y="25"/>
                    </a:cubicBezTo>
                    <a:cubicBezTo>
                      <a:pt x="222" y="44"/>
                      <a:pt x="217" y="71"/>
                      <a:pt x="197" y="84"/>
                    </a:cubicBezTo>
                    <a:cubicBezTo>
                      <a:pt x="73" y="168"/>
                      <a:pt x="73" y="168"/>
                      <a:pt x="73" y="168"/>
                    </a:cubicBezTo>
                    <a:cubicBezTo>
                      <a:pt x="65" y="173"/>
                      <a:pt x="57" y="175"/>
                      <a:pt x="4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60"/>
              <p:cNvSpPr>
                <a:spLocks/>
              </p:cNvSpPr>
              <p:nvPr/>
            </p:nvSpPr>
            <p:spPr bwMode="auto">
              <a:xfrm>
                <a:off x="6750050" y="5851526"/>
                <a:ext cx="84138" cy="84138"/>
              </a:xfrm>
              <a:custGeom>
                <a:avLst/>
                <a:gdLst>
                  <a:gd name="T0" fmla="*/ 303 w 351"/>
                  <a:gd name="T1" fmla="*/ 346 h 346"/>
                  <a:gd name="T2" fmla="*/ 276 w 351"/>
                  <a:gd name="T3" fmla="*/ 337 h 346"/>
                  <a:gd name="T4" fmla="*/ 16 w 351"/>
                  <a:gd name="T5" fmla="*/ 77 h 346"/>
                  <a:gd name="T6" fmla="*/ 17 w 351"/>
                  <a:gd name="T7" fmla="*/ 16 h 346"/>
                  <a:gd name="T8" fmla="*/ 78 w 351"/>
                  <a:gd name="T9" fmla="*/ 17 h 346"/>
                  <a:gd name="T10" fmla="*/ 329 w 351"/>
                  <a:gd name="T11" fmla="*/ 269 h 346"/>
                  <a:gd name="T12" fmla="*/ 336 w 351"/>
                  <a:gd name="T13" fmla="*/ 329 h 346"/>
                  <a:gd name="T14" fmla="*/ 303 w 351"/>
                  <a:gd name="T15" fmla="*/ 346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1" h="346">
                    <a:moveTo>
                      <a:pt x="303" y="346"/>
                    </a:moveTo>
                    <a:cubicBezTo>
                      <a:pt x="293" y="346"/>
                      <a:pt x="284" y="343"/>
                      <a:pt x="276" y="337"/>
                    </a:cubicBezTo>
                    <a:cubicBezTo>
                      <a:pt x="231" y="301"/>
                      <a:pt x="38" y="99"/>
                      <a:pt x="16" y="77"/>
                    </a:cubicBezTo>
                    <a:cubicBezTo>
                      <a:pt x="0" y="60"/>
                      <a:pt x="0" y="32"/>
                      <a:pt x="17" y="16"/>
                    </a:cubicBezTo>
                    <a:cubicBezTo>
                      <a:pt x="34" y="0"/>
                      <a:pt x="61" y="0"/>
                      <a:pt x="78" y="17"/>
                    </a:cubicBezTo>
                    <a:cubicBezTo>
                      <a:pt x="162" y="106"/>
                      <a:pt x="299" y="245"/>
                      <a:pt x="329" y="269"/>
                    </a:cubicBezTo>
                    <a:cubicBezTo>
                      <a:pt x="348" y="284"/>
                      <a:pt x="351" y="311"/>
                      <a:pt x="336" y="329"/>
                    </a:cubicBezTo>
                    <a:cubicBezTo>
                      <a:pt x="328" y="340"/>
                      <a:pt x="315" y="346"/>
                      <a:pt x="303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61"/>
              <p:cNvSpPr>
                <a:spLocks/>
              </p:cNvSpPr>
              <p:nvPr/>
            </p:nvSpPr>
            <p:spPr bwMode="auto">
              <a:xfrm>
                <a:off x="6718300" y="5883276"/>
                <a:ext cx="74613" cy="73025"/>
              </a:xfrm>
              <a:custGeom>
                <a:avLst/>
                <a:gdLst>
                  <a:gd name="T0" fmla="*/ 261 w 309"/>
                  <a:gd name="T1" fmla="*/ 303 h 303"/>
                  <a:gd name="T2" fmla="*/ 234 w 309"/>
                  <a:gd name="T3" fmla="*/ 294 h 303"/>
                  <a:gd name="T4" fmla="*/ 16 w 309"/>
                  <a:gd name="T5" fmla="*/ 76 h 303"/>
                  <a:gd name="T6" fmla="*/ 19 w 309"/>
                  <a:gd name="T7" fmla="*/ 16 h 303"/>
                  <a:gd name="T8" fmla="*/ 79 w 309"/>
                  <a:gd name="T9" fmla="*/ 18 h 303"/>
                  <a:gd name="T10" fmla="*/ 288 w 309"/>
                  <a:gd name="T11" fmla="*/ 227 h 303"/>
                  <a:gd name="T12" fmla="*/ 294 w 309"/>
                  <a:gd name="T13" fmla="*/ 287 h 303"/>
                  <a:gd name="T14" fmla="*/ 261 w 309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303">
                    <a:moveTo>
                      <a:pt x="261" y="303"/>
                    </a:moveTo>
                    <a:cubicBezTo>
                      <a:pt x="252" y="303"/>
                      <a:pt x="242" y="300"/>
                      <a:pt x="234" y="294"/>
                    </a:cubicBezTo>
                    <a:cubicBezTo>
                      <a:pt x="171" y="243"/>
                      <a:pt x="18" y="78"/>
                      <a:pt x="16" y="76"/>
                    </a:cubicBezTo>
                    <a:cubicBezTo>
                      <a:pt x="0" y="59"/>
                      <a:pt x="2" y="32"/>
                      <a:pt x="19" y="16"/>
                    </a:cubicBezTo>
                    <a:cubicBezTo>
                      <a:pt x="36" y="0"/>
                      <a:pt x="63" y="1"/>
                      <a:pt x="79" y="18"/>
                    </a:cubicBezTo>
                    <a:cubicBezTo>
                      <a:pt x="108" y="50"/>
                      <a:pt x="237" y="186"/>
                      <a:pt x="288" y="227"/>
                    </a:cubicBezTo>
                    <a:cubicBezTo>
                      <a:pt x="306" y="242"/>
                      <a:pt x="309" y="269"/>
                      <a:pt x="294" y="287"/>
                    </a:cubicBezTo>
                    <a:cubicBezTo>
                      <a:pt x="286" y="297"/>
                      <a:pt x="273" y="303"/>
                      <a:pt x="261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62"/>
              <p:cNvSpPr>
                <a:spLocks/>
              </p:cNvSpPr>
              <p:nvPr/>
            </p:nvSpPr>
            <p:spPr bwMode="auto">
              <a:xfrm>
                <a:off x="6677025" y="5903913"/>
                <a:ext cx="74613" cy="73025"/>
              </a:xfrm>
              <a:custGeom>
                <a:avLst/>
                <a:gdLst>
                  <a:gd name="T0" fmla="*/ 260 w 308"/>
                  <a:gd name="T1" fmla="*/ 303 h 303"/>
                  <a:gd name="T2" fmla="*/ 233 w 308"/>
                  <a:gd name="T3" fmla="*/ 293 h 303"/>
                  <a:gd name="T4" fmla="*/ 16 w 308"/>
                  <a:gd name="T5" fmla="*/ 76 h 303"/>
                  <a:gd name="T6" fmla="*/ 18 w 308"/>
                  <a:gd name="T7" fmla="*/ 16 h 303"/>
                  <a:gd name="T8" fmla="*/ 78 w 308"/>
                  <a:gd name="T9" fmla="*/ 18 h 303"/>
                  <a:gd name="T10" fmla="*/ 288 w 308"/>
                  <a:gd name="T11" fmla="*/ 228 h 303"/>
                  <a:gd name="T12" fmla="*/ 293 w 308"/>
                  <a:gd name="T13" fmla="*/ 288 h 303"/>
                  <a:gd name="T14" fmla="*/ 260 w 308"/>
                  <a:gd name="T1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8" h="303">
                    <a:moveTo>
                      <a:pt x="260" y="303"/>
                    </a:moveTo>
                    <a:cubicBezTo>
                      <a:pt x="251" y="303"/>
                      <a:pt x="241" y="300"/>
                      <a:pt x="233" y="293"/>
                    </a:cubicBezTo>
                    <a:cubicBezTo>
                      <a:pt x="170" y="240"/>
                      <a:pt x="51" y="114"/>
                      <a:pt x="16" y="76"/>
                    </a:cubicBezTo>
                    <a:cubicBezTo>
                      <a:pt x="0" y="59"/>
                      <a:pt x="1" y="32"/>
                      <a:pt x="18" y="16"/>
                    </a:cubicBezTo>
                    <a:cubicBezTo>
                      <a:pt x="35" y="0"/>
                      <a:pt x="62" y="1"/>
                      <a:pt x="78" y="18"/>
                    </a:cubicBezTo>
                    <a:cubicBezTo>
                      <a:pt x="103" y="44"/>
                      <a:pt x="227" y="177"/>
                      <a:pt x="288" y="228"/>
                    </a:cubicBezTo>
                    <a:cubicBezTo>
                      <a:pt x="306" y="243"/>
                      <a:pt x="308" y="270"/>
                      <a:pt x="293" y="288"/>
                    </a:cubicBezTo>
                    <a:cubicBezTo>
                      <a:pt x="285" y="298"/>
                      <a:pt x="272" y="303"/>
                      <a:pt x="260" y="3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63"/>
              <p:cNvSpPr>
                <a:spLocks noEditPoints="1"/>
              </p:cNvSpPr>
              <p:nvPr/>
            </p:nvSpPr>
            <p:spPr bwMode="auto">
              <a:xfrm>
                <a:off x="6473825" y="5678488"/>
                <a:ext cx="123825" cy="204788"/>
              </a:xfrm>
              <a:custGeom>
                <a:avLst/>
                <a:gdLst>
                  <a:gd name="T0" fmla="*/ 299 w 513"/>
                  <a:gd name="T1" fmla="*/ 854 h 854"/>
                  <a:gd name="T2" fmla="*/ 43 w 513"/>
                  <a:gd name="T3" fmla="*/ 854 h 854"/>
                  <a:gd name="T4" fmla="*/ 0 w 513"/>
                  <a:gd name="T5" fmla="*/ 812 h 854"/>
                  <a:gd name="T6" fmla="*/ 0 w 513"/>
                  <a:gd name="T7" fmla="*/ 44 h 854"/>
                  <a:gd name="T8" fmla="*/ 13 w 513"/>
                  <a:gd name="T9" fmla="*/ 13 h 854"/>
                  <a:gd name="T10" fmla="*/ 45 w 513"/>
                  <a:gd name="T11" fmla="*/ 1 h 854"/>
                  <a:gd name="T12" fmla="*/ 499 w 513"/>
                  <a:gd name="T13" fmla="*/ 98 h 854"/>
                  <a:gd name="T14" fmla="*/ 512 w 513"/>
                  <a:gd name="T15" fmla="*/ 133 h 854"/>
                  <a:gd name="T16" fmla="*/ 339 w 513"/>
                  <a:gd name="T17" fmla="*/ 825 h 854"/>
                  <a:gd name="T18" fmla="*/ 299 w 513"/>
                  <a:gd name="T19" fmla="*/ 854 h 854"/>
                  <a:gd name="T20" fmla="*/ 85 w 513"/>
                  <a:gd name="T21" fmla="*/ 769 h 854"/>
                  <a:gd name="T22" fmla="*/ 268 w 513"/>
                  <a:gd name="T23" fmla="*/ 769 h 854"/>
                  <a:gd name="T24" fmla="*/ 424 w 513"/>
                  <a:gd name="T25" fmla="*/ 150 h 854"/>
                  <a:gd name="T26" fmla="*/ 85 w 513"/>
                  <a:gd name="T27" fmla="*/ 89 h 854"/>
                  <a:gd name="T28" fmla="*/ 85 w 513"/>
                  <a:gd name="T29" fmla="*/ 769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3" h="854">
                    <a:moveTo>
                      <a:pt x="299" y="854"/>
                    </a:moveTo>
                    <a:cubicBezTo>
                      <a:pt x="43" y="854"/>
                      <a:pt x="43" y="854"/>
                      <a:pt x="43" y="854"/>
                    </a:cubicBezTo>
                    <a:cubicBezTo>
                      <a:pt x="19" y="854"/>
                      <a:pt x="0" y="835"/>
                      <a:pt x="0" y="8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32"/>
                      <a:pt x="5" y="21"/>
                      <a:pt x="13" y="13"/>
                    </a:cubicBezTo>
                    <a:cubicBezTo>
                      <a:pt x="22" y="4"/>
                      <a:pt x="33" y="0"/>
                      <a:pt x="45" y="1"/>
                    </a:cubicBezTo>
                    <a:cubicBezTo>
                      <a:pt x="133" y="6"/>
                      <a:pt x="426" y="29"/>
                      <a:pt x="499" y="98"/>
                    </a:cubicBezTo>
                    <a:cubicBezTo>
                      <a:pt x="508" y="107"/>
                      <a:pt x="513" y="120"/>
                      <a:pt x="512" y="133"/>
                    </a:cubicBezTo>
                    <a:cubicBezTo>
                      <a:pt x="492" y="355"/>
                      <a:pt x="345" y="806"/>
                      <a:pt x="339" y="825"/>
                    </a:cubicBezTo>
                    <a:cubicBezTo>
                      <a:pt x="333" y="842"/>
                      <a:pt x="317" y="854"/>
                      <a:pt x="299" y="854"/>
                    </a:cubicBezTo>
                    <a:close/>
                    <a:moveTo>
                      <a:pt x="85" y="769"/>
                    </a:moveTo>
                    <a:cubicBezTo>
                      <a:pt x="268" y="769"/>
                      <a:pt x="268" y="769"/>
                      <a:pt x="268" y="769"/>
                    </a:cubicBezTo>
                    <a:cubicBezTo>
                      <a:pt x="299" y="669"/>
                      <a:pt x="402" y="337"/>
                      <a:pt x="424" y="150"/>
                    </a:cubicBezTo>
                    <a:cubicBezTo>
                      <a:pt x="370" y="124"/>
                      <a:pt x="222" y="100"/>
                      <a:pt x="85" y="89"/>
                    </a:cubicBezTo>
                    <a:lnTo>
                      <a:pt x="85" y="7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64"/>
              <p:cNvSpPr>
                <a:spLocks noEditPoints="1"/>
              </p:cNvSpPr>
              <p:nvPr/>
            </p:nvSpPr>
            <p:spPr bwMode="auto">
              <a:xfrm>
                <a:off x="6821488" y="5699126"/>
                <a:ext cx="144463" cy="204788"/>
              </a:xfrm>
              <a:custGeom>
                <a:avLst/>
                <a:gdLst>
                  <a:gd name="T0" fmla="*/ 555 w 598"/>
                  <a:gd name="T1" fmla="*/ 854 h 854"/>
                  <a:gd name="T2" fmla="*/ 299 w 598"/>
                  <a:gd name="T3" fmla="*/ 854 h 854"/>
                  <a:gd name="T4" fmla="*/ 258 w 598"/>
                  <a:gd name="T5" fmla="*/ 822 h 854"/>
                  <a:gd name="T6" fmla="*/ 9 w 598"/>
                  <a:gd name="T7" fmla="*/ 151 h 854"/>
                  <a:gd name="T8" fmla="*/ 4 w 598"/>
                  <a:gd name="T9" fmla="*/ 116 h 854"/>
                  <a:gd name="T10" fmla="*/ 27 w 598"/>
                  <a:gd name="T11" fmla="*/ 90 h 854"/>
                  <a:gd name="T12" fmla="*/ 555 w 598"/>
                  <a:gd name="T13" fmla="*/ 0 h 854"/>
                  <a:gd name="T14" fmla="*/ 598 w 598"/>
                  <a:gd name="T15" fmla="*/ 43 h 854"/>
                  <a:gd name="T16" fmla="*/ 598 w 598"/>
                  <a:gd name="T17" fmla="*/ 811 h 854"/>
                  <a:gd name="T18" fmla="*/ 555 w 598"/>
                  <a:gd name="T19" fmla="*/ 854 h 854"/>
                  <a:gd name="T20" fmla="*/ 331 w 598"/>
                  <a:gd name="T21" fmla="*/ 768 h 854"/>
                  <a:gd name="T22" fmla="*/ 513 w 598"/>
                  <a:gd name="T23" fmla="*/ 768 h 854"/>
                  <a:gd name="T24" fmla="*/ 513 w 598"/>
                  <a:gd name="T25" fmla="*/ 86 h 854"/>
                  <a:gd name="T26" fmla="*/ 105 w 598"/>
                  <a:gd name="T27" fmla="*/ 151 h 854"/>
                  <a:gd name="T28" fmla="*/ 331 w 598"/>
                  <a:gd name="T29" fmla="*/ 76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8" h="854">
                    <a:moveTo>
                      <a:pt x="555" y="854"/>
                    </a:moveTo>
                    <a:cubicBezTo>
                      <a:pt x="299" y="854"/>
                      <a:pt x="299" y="854"/>
                      <a:pt x="299" y="854"/>
                    </a:cubicBezTo>
                    <a:cubicBezTo>
                      <a:pt x="280" y="854"/>
                      <a:pt x="263" y="841"/>
                      <a:pt x="258" y="822"/>
                    </a:cubicBezTo>
                    <a:cubicBezTo>
                      <a:pt x="226" y="707"/>
                      <a:pt x="61" y="236"/>
                      <a:pt x="9" y="151"/>
                    </a:cubicBezTo>
                    <a:cubicBezTo>
                      <a:pt x="2" y="140"/>
                      <a:pt x="0" y="128"/>
                      <a:pt x="4" y="116"/>
                    </a:cubicBezTo>
                    <a:cubicBezTo>
                      <a:pt x="7" y="105"/>
                      <a:pt x="16" y="95"/>
                      <a:pt x="27" y="90"/>
                    </a:cubicBezTo>
                    <a:cubicBezTo>
                      <a:pt x="34" y="86"/>
                      <a:pt x="220" y="0"/>
                      <a:pt x="555" y="0"/>
                    </a:cubicBezTo>
                    <a:cubicBezTo>
                      <a:pt x="579" y="0"/>
                      <a:pt x="598" y="19"/>
                      <a:pt x="598" y="43"/>
                    </a:cubicBezTo>
                    <a:cubicBezTo>
                      <a:pt x="598" y="811"/>
                      <a:pt x="598" y="811"/>
                      <a:pt x="598" y="811"/>
                    </a:cubicBezTo>
                    <a:cubicBezTo>
                      <a:pt x="598" y="835"/>
                      <a:pt x="579" y="854"/>
                      <a:pt x="555" y="854"/>
                    </a:cubicBezTo>
                    <a:close/>
                    <a:moveTo>
                      <a:pt x="331" y="768"/>
                    </a:moveTo>
                    <a:cubicBezTo>
                      <a:pt x="513" y="768"/>
                      <a:pt x="513" y="768"/>
                      <a:pt x="513" y="768"/>
                    </a:cubicBezTo>
                    <a:cubicBezTo>
                      <a:pt x="513" y="86"/>
                      <a:pt x="513" y="86"/>
                      <a:pt x="513" y="86"/>
                    </a:cubicBezTo>
                    <a:cubicBezTo>
                      <a:pt x="310" y="91"/>
                      <a:pt x="170" y="129"/>
                      <a:pt x="105" y="151"/>
                    </a:cubicBezTo>
                    <a:cubicBezTo>
                      <a:pt x="171" y="293"/>
                      <a:pt x="291" y="637"/>
                      <a:pt x="331" y="7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5" name="Group 64"/>
          <p:cNvGrpSpPr/>
          <p:nvPr/>
        </p:nvGrpSpPr>
        <p:grpSpPr>
          <a:xfrm>
            <a:off x="6194730" y="1684364"/>
            <a:ext cx="512615" cy="512615"/>
            <a:chOff x="3301422" y="1941632"/>
            <a:chExt cx="502920" cy="502920"/>
          </a:xfrm>
        </p:grpSpPr>
        <p:sp>
          <p:nvSpPr>
            <p:cNvPr id="273" name="Oval 272"/>
            <p:cNvSpPr/>
            <p:nvPr/>
          </p:nvSpPr>
          <p:spPr>
            <a:xfrm>
              <a:off x="3301422" y="1941632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248" name="Group 247"/>
            <p:cNvGrpSpPr/>
            <p:nvPr/>
          </p:nvGrpSpPr>
          <p:grpSpPr>
            <a:xfrm>
              <a:off x="3454524" y="2030731"/>
              <a:ext cx="196717" cy="190394"/>
              <a:chOff x="352425" y="6562725"/>
              <a:chExt cx="444501" cy="430213"/>
            </a:xfrm>
            <a:solidFill>
              <a:schemeClr val="tx2"/>
            </a:solidFill>
          </p:grpSpPr>
          <p:sp>
            <p:nvSpPr>
              <p:cNvPr id="249" name="Freeform 68"/>
              <p:cNvSpPr>
                <a:spLocks noEditPoints="1"/>
              </p:cNvSpPr>
              <p:nvPr/>
            </p:nvSpPr>
            <p:spPr bwMode="auto">
              <a:xfrm>
                <a:off x="385763" y="6562725"/>
                <a:ext cx="411163" cy="412750"/>
              </a:xfrm>
              <a:custGeom>
                <a:avLst/>
                <a:gdLst>
                  <a:gd name="T0" fmla="*/ 1452 w 1895"/>
                  <a:gd name="T1" fmla="*/ 1195 h 1894"/>
                  <a:gd name="T2" fmla="*/ 1359 w 1895"/>
                  <a:gd name="T3" fmla="*/ 1184 h 1894"/>
                  <a:gd name="T4" fmla="*/ 1078 w 1895"/>
                  <a:gd name="T5" fmla="*/ 947 h 1894"/>
                  <a:gd name="T6" fmla="*/ 1313 w 1895"/>
                  <a:gd name="T7" fmla="*/ 1226 h 1894"/>
                  <a:gd name="T8" fmla="*/ 796 w 1895"/>
                  <a:gd name="T9" fmla="*/ 881 h 1894"/>
                  <a:gd name="T10" fmla="*/ 940 w 1895"/>
                  <a:gd name="T11" fmla="*/ 853 h 1894"/>
                  <a:gd name="T12" fmla="*/ 984 w 1895"/>
                  <a:gd name="T13" fmla="*/ 809 h 1894"/>
                  <a:gd name="T14" fmla="*/ 1076 w 1895"/>
                  <a:gd name="T15" fmla="*/ 601 h 1894"/>
                  <a:gd name="T16" fmla="*/ 1143 w 1895"/>
                  <a:gd name="T17" fmla="*/ 636 h 1894"/>
                  <a:gd name="T18" fmla="*/ 1254 w 1895"/>
                  <a:gd name="T19" fmla="*/ 557 h 1894"/>
                  <a:gd name="T20" fmla="*/ 1254 w 1895"/>
                  <a:gd name="T21" fmla="*/ 447 h 1894"/>
                  <a:gd name="T22" fmla="*/ 774 w 1895"/>
                  <a:gd name="T23" fmla="*/ 0 h 1894"/>
                  <a:gd name="T24" fmla="*/ 664 w 1895"/>
                  <a:gd name="T25" fmla="*/ 78 h 1894"/>
                  <a:gd name="T26" fmla="*/ 664 w 1895"/>
                  <a:gd name="T27" fmla="*/ 188 h 1894"/>
                  <a:gd name="T28" fmla="*/ 201 w 1895"/>
                  <a:gd name="T29" fmla="*/ 675 h 1894"/>
                  <a:gd name="T30" fmla="*/ 79 w 1895"/>
                  <a:gd name="T31" fmla="*/ 663 h 1894"/>
                  <a:gd name="T32" fmla="*/ 0 w 1895"/>
                  <a:gd name="T33" fmla="*/ 773 h 1894"/>
                  <a:gd name="T34" fmla="*/ 448 w 1895"/>
                  <a:gd name="T35" fmla="*/ 1253 h 1894"/>
                  <a:gd name="T36" fmla="*/ 558 w 1895"/>
                  <a:gd name="T37" fmla="*/ 1253 h 1894"/>
                  <a:gd name="T38" fmla="*/ 614 w 1895"/>
                  <a:gd name="T39" fmla="*/ 1198 h 1894"/>
                  <a:gd name="T40" fmla="*/ 602 w 1895"/>
                  <a:gd name="T41" fmla="*/ 1076 h 1894"/>
                  <a:gd name="T42" fmla="*/ 1184 w 1895"/>
                  <a:gd name="T43" fmla="*/ 1358 h 1894"/>
                  <a:gd name="T44" fmla="*/ 1196 w 1895"/>
                  <a:gd name="T45" fmla="*/ 1451 h 1894"/>
                  <a:gd name="T46" fmla="*/ 1671 w 1895"/>
                  <a:gd name="T47" fmla="*/ 1894 h 1894"/>
                  <a:gd name="T48" fmla="*/ 1873 w 1895"/>
                  <a:gd name="T49" fmla="*/ 1724 h 1894"/>
                  <a:gd name="T50" fmla="*/ 1873 w 1895"/>
                  <a:gd name="T51" fmla="*/ 1616 h 1894"/>
                  <a:gd name="T52" fmla="*/ 763 w 1895"/>
                  <a:gd name="T53" fmla="*/ 66 h 1894"/>
                  <a:gd name="T54" fmla="*/ 785 w 1895"/>
                  <a:gd name="T55" fmla="*/ 66 h 1894"/>
                  <a:gd name="T56" fmla="*/ 1215 w 1895"/>
                  <a:gd name="T57" fmla="*/ 502 h 1894"/>
                  <a:gd name="T58" fmla="*/ 1155 w 1895"/>
                  <a:gd name="T59" fmla="*/ 569 h 1894"/>
                  <a:gd name="T60" fmla="*/ 708 w 1895"/>
                  <a:gd name="T61" fmla="*/ 144 h 1894"/>
                  <a:gd name="T62" fmla="*/ 708 w 1895"/>
                  <a:gd name="T63" fmla="*/ 122 h 1894"/>
                  <a:gd name="T64" fmla="*/ 514 w 1895"/>
                  <a:gd name="T65" fmla="*/ 1209 h 1894"/>
                  <a:gd name="T66" fmla="*/ 67 w 1895"/>
                  <a:gd name="T67" fmla="*/ 785 h 1894"/>
                  <a:gd name="T68" fmla="*/ 67 w 1895"/>
                  <a:gd name="T69" fmla="*/ 762 h 1894"/>
                  <a:gd name="T70" fmla="*/ 134 w 1895"/>
                  <a:gd name="T71" fmla="*/ 702 h 1894"/>
                  <a:gd name="T72" fmla="*/ 570 w 1895"/>
                  <a:gd name="T73" fmla="*/ 1131 h 1894"/>
                  <a:gd name="T74" fmla="*/ 730 w 1895"/>
                  <a:gd name="T75" fmla="*/ 860 h 1894"/>
                  <a:gd name="T76" fmla="*/ 558 w 1895"/>
                  <a:gd name="T77" fmla="*/ 1032 h 1894"/>
                  <a:gd name="T78" fmla="*/ 719 w 1895"/>
                  <a:gd name="T79" fmla="*/ 244 h 1894"/>
                  <a:gd name="T80" fmla="*/ 860 w 1895"/>
                  <a:gd name="T81" fmla="*/ 729 h 1894"/>
                  <a:gd name="T82" fmla="*/ 730 w 1895"/>
                  <a:gd name="T83" fmla="*/ 860 h 1894"/>
                  <a:gd name="T84" fmla="*/ 1680 w 1895"/>
                  <a:gd name="T85" fmla="*/ 1828 h 1894"/>
                  <a:gd name="T86" fmla="*/ 1661 w 1895"/>
                  <a:gd name="T87" fmla="*/ 1828 h 1894"/>
                  <a:gd name="T88" fmla="*/ 1236 w 1895"/>
                  <a:gd name="T89" fmla="*/ 1397 h 1894"/>
                  <a:gd name="T90" fmla="*/ 1249 w 1895"/>
                  <a:gd name="T91" fmla="*/ 1378 h 1894"/>
                  <a:gd name="T92" fmla="*/ 1388 w 1895"/>
                  <a:gd name="T93" fmla="*/ 1239 h 1894"/>
                  <a:gd name="T94" fmla="*/ 1408 w 1895"/>
                  <a:gd name="T95" fmla="*/ 1239 h 1894"/>
                  <a:gd name="T96" fmla="*/ 1833 w 1895"/>
                  <a:gd name="T97" fmla="*/ 1670 h 18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95" h="1894">
                    <a:moveTo>
                      <a:pt x="1873" y="1616"/>
                    </a:moveTo>
                    <a:cubicBezTo>
                      <a:pt x="1452" y="1195"/>
                      <a:pt x="1452" y="1195"/>
                      <a:pt x="1452" y="1195"/>
                    </a:cubicBezTo>
                    <a:cubicBezTo>
                      <a:pt x="1437" y="1181"/>
                      <a:pt x="1418" y="1173"/>
                      <a:pt x="1398" y="1173"/>
                    </a:cubicBezTo>
                    <a:cubicBezTo>
                      <a:pt x="1384" y="1173"/>
                      <a:pt x="1370" y="1177"/>
                      <a:pt x="1359" y="1184"/>
                    </a:cubicBezTo>
                    <a:cubicBezTo>
                      <a:pt x="1122" y="947"/>
                      <a:pt x="1122" y="947"/>
                      <a:pt x="1122" y="947"/>
                    </a:cubicBezTo>
                    <a:cubicBezTo>
                      <a:pt x="1110" y="935"/>
                      <a:pt x="1090" y="935"/>
                      <a:pt x="1078" y="947"/>
                    </a:cubicBezTo>
                    <a:cubicBezTo>
                      <a:pt x="1066" y="959"/>
                      <a:pt x="1066" y="979"/>
                      <a:pt x="1078" y="991"/>
                    </a:cubicBezTo>
                    <a:cubicBezTo>
                      <a:pt x="1313" y="1226"/>
                      <a:pt x="1313" y="1226"/>
                      <a:pt x="1313" y="1226"/>
                    </a:cubicBezTo>
                    <a:cubicBezTo>
                      <a:pt x="1227" y="1313"/>
                      <a:pt x="1227" y="1313"/>
                      <a:pt x="1227" y="1313"/>
                    </a:cubicBezTo>
                    <a:cubicBezTo>
                      <a:pt x="796" y="881"/>
                      <a:pt x="796" y="881"/>
                      <a:pt x="796" y="881"/>
                    </a:cubicBezTo>
                    <a:cubicBezTo>
                      <a:pt x="882" y="795"/>
                      <a:pt x="882" y="795"/>
                      <a:pt x="882" y="795"/>
                    </a:cubicBezTo>
                    <a:cubicBezTo>
                      <a:pt x="940" y="853"/>
                      <a:pt x="940" y="853"/>
                      <a:pt x="940" y="853"/>
                    </a:cubicBezTo>
                    <a:cubicBezTo>
                      <a:pt x="952" y="865"/>
                      <a:pt x="972" y="865"/>
                      <a:pt x="984" y="853"/>
                    </a:cubicBezTo>
                    <a:cubicBezTo>
                      <a:pt x="996" y="840"/>
                      <a:pt x="996" y="821"/>
                      <a:pt x="984" y="809"/>
                    </a:cubicBezTo>
                    <a:cubicBezTo>
                      <a:pt x="926" y="751"/>
                      <a:pt x="926" y="751"/>
                      <a:pt x="926" y="751"/>
                    </a:cubicBezTo>
                    <a:cubicBezTo>
                      <a:pt x="1076" y="601"/>
                      <a:pt x="1076" y="601"/>
                      <a:pt x="1076" y="601"/>
                    </a:cubicBezTo>
                    <a:cubicBezTo>
                      <a:pt x="1088" y="613"/>
                      <a:pt x="1088" y="613"/>
                      <a:pt x="1088" y="613"/>
                    </a:cubicBezTo>
                    <a:cubicBezTo>
                      <a:pt x="1103" y="628"/>
                      <a:pt x="1122" y="636"/>
                      <a:pt x="1143" y="636"/>
                    </a:cubicBezTo>
                    <a:cubicBezTo>
                      <a:pt x="1164" y="636"/>
                      <a:pt x="1184" y="628"/>
                      <a:pt x="1199" y="613"/>
                    </a:cubicBezTo>
                    <a:cubicBezTo>
                      <a:pt x="1254" y="557"/>
                      <a:pt x="1254" y="557"/>
                      <a:pt x="1254" y="557"/>
                    </a:cubicBezTo>
                    <a:cubicBezTo>
                      <a:pt x="1269" y="543"/>
                      <a:pt x="1277" y="523"/>
                      <a:pt x="1277" y="502"/>
                    </a:cubicBezTo>
                    <a:cubicBezTo>
                      <a:pt x="1277" y="481"/>
                      <a:pt x="1269" y="462"/>
                      <a:pt x="1254" y="447"/>
                    </a:cubicBezTo>
                    <a:cubicBezTo>
                      <a:pt x="829" y="23"/>
                      <a:pt x="829" y="23"/>
                      <a:pt x="829" y="23"/>
                    </a:cubicBezTo>
                    <a:cubicBezTo>
                      <a:pt x="815" y="8"/>
                      <a:pt x="795" y="0"/>
                      <a:pt x="774" y="0"/>
                    </a:cubicBezTo>
                    <a:cubicBezTo>
                      <a:pt x="753" y="0"/>
                      <a:pt x="734" y="8"/>
                      <a:pt x="719" y="23"/>
                    </a:cubicBezTo>
                    <a:cubicBezTo>
                      <a:pt x="664" y="78"/>
                      <a:pt x="664" y="78"/>
                      <a:pt x="664" y="78"/>
                    </a:cubicBezTo>
                    <a:cubicBezTo>
                      <a:pt x="649" y="93"/>
                      <a:pt x="641" y="112"/>
                      <a:pt x="641" y="133"/>
                    </a:cubicBezTo>
                    <a:cubicBezTo>
                      <a:pt x="641" y="154"/>
                      <a:pt x="649" y="174"/>
                      <a:pt x="664" y="188"/>
                    </a:cubicBezTo>
                    <a:cubicBezTo>
                      <a:pt x="675" y="200"/>
                      <a:pt x="675" y="200"/>
                      <a:pt x="675" y="200"/>
                    </a:cubicBezTo>
                    <a:cubicBezTo>
                      <a:pt x="201" y="675"/>
                      <a:pt x="201" y="675"/>
                      <a:pt x="201" y="675"/>
                    </a:cubicBezTo>
                    <a:cubicBezTo>
                      <a:pt x="189" y="663"/>
                      <a:pt x="189" y="663"/>
                      <a:pt x="189" y="663"/>
                    </a:cubicBezTo>
                    <a:cubicBezTo>
                      <a:pt x="159" y="632"/>
                      <a:pt x="109" y="632"/>
                      <a:pt x="79" y="663"/>
                    </a:cubicBezTo>
                    <a:cubicBezTo>
                      <a:pt x="23" y="718"/>
                      <a:pt x="23" y="718"/>
                      <a:pt x="23" y="718"/>
                    </a:cubicBezTo>
                    <a:cubicBezTo>
                      <a:pt x="9" y="733"/>
                      <a:pt x="0" y="753"/>
                      <a:pt x="0" y="773"/>
                    </a:cubicBezTo>
                    <a:cubicBezTo>
                      <a:pt x="0" y="794"/>
                      <a:pt x="9" y="814"/>
                      <a:pt x="23" y="829"/>
                    </a:cubicBezTo>
                    <a:cubicBezTo>
                      <a:pt x="448" y="1253"/>
                      <a:pt x="448" y="1253"/>
                      <a:pt x="448" y="1253"/>
                    </a:cubicBezTo>
                    <a:cubicBezTo>
                      <a:pt x="462" y="1268"/>
                      <a:pt x="482" y="1276"/>
                      <a:pt x="503" y="1276"/>
                    </a:cubicBezTo>
                    <a:cubicBezTo>
                      <a:pt x="524" y="1276"/>
                      <a:pt x="543" y="1268"/>
                      <a:pt x="558" y="1253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14" y="1198"/>
                      <a:pt x="614" y="1198"/>
                      <a:pt x="614" y="1198"/>
                    </a:cubicBezTo>
                    <a:cubicBezTo>
                      <a:pt x="644" y="1167"/>
                      <a:pt x="644" y="1118"/>
                      <a:pt x="614" y="1087"/>
                    </a:cubicBezTo>
                    <a:cubicBezTo>
                      <a:pt x="602" y="1076"/>
                      <a:pt x="602" y="1076"/>
                      <a:pt x="602" y="1076"/>
                    </a:cubicBezTo>
                    <a:cubicBezTo>
                      <a:pt x="752" y="925"/>
                      <a:pt x="752" y="925"/>
                      <a:pt x="752" y="925"/>
                    </a:cubicBezTo>
                    <a:cubicBezTo>
                      <a:pt x="1184" y="1358"/>
                      <a:pt x="1184" y="1358"/>
                      <a:pt x="1184" y="1358"/>
                    </a:cubicBezTo>
                    <a:cubicBezTo>
                      <a:pt x="1177" y="1370"/>
                      <a:pt x="1173" y="1383"/>
                      <a:pt x="1173" y="1397"/>
                    </a:cubicBezTo>
                    <a:cubicBezTo>
                      <a:pt x="1173" y="1417"/>
                      <a:pt x="1181" y="1437"/>
                      <a:pt x="1196" y="1451"/>
                    </a:cubicBezTo>
                    <a:cubicBezTo>
                      <a:pt x="1617" y="1872"/>
                      <a:pt x="1617" y="1872"/>
                      <a:pt x="1617" y="1872"/>
                    </a:cubicBezTo>
                    <a:cubicBezTo>
                      <a:pt x="1631" y="1886"/>
                      <a:pt x="1650" y="1894"/>
                      <a:pt x="1671" y="1894"/>
                    </a:cubicBezTo>
                    <a:cubicBezTo>
                      <a:pt x="1691" y="1894"/>
                      <a:pt x="1710" y="1886"/>
                      <a:pt x="1724" y="1872"/>
                    </a:cubicBezTo>
                    <a:cubicBezTo>
                      <a:pt x="1873" y="1724"/>
                      <a:pt x="1873" y="1724"/>
                      <a:pt x="1873" y="1724"/>
                    </a:cubicBezTo>
                    <a:cubicBezTo>
                      <a:pt x="1887" y="1709"/>
                      <a:pt x="1895" y="1690"/>
                      <a:pt x="1895" y="1670"/>
                    </a:cubicBezTo>
                    <a:cubicBezTo>
                      <a:pt x="1895" y="1650"/>
                      <a:pt x="1887" y="1630"/>
                      <a:pt x="1873" y="1616"/>
                    </a:cubicBezTo>
                    <a:close/>
                    <a:moveTo>
                      <a:pt x="708" y="122"/>
                    </a:moveTo>
                    <a:cubicBezTo>
                      <a:pt x="763" y="66"/>
                      <a:pt x="763" y="66"/>
                      <a:pt x="763" y="66"/>
                    </a:cubicBezTo>
                    <a:cubicBezTo>
                      <a:pt x="766" y="63"/>
                      <a:pt x="770" y="62"/>
                      <a:pt x="774" y="62"/>
                    </a:cubicBezTo>
                    <a:cubicBezTo>
                      <a:pt x="778" y="62"/>
                      <a:pt x="782" y="63"/>
                      <a:pt x="785" y="66"/>
                    </a:cubicBezTo>
                    <a:cubicBezTo>
                      <a:pt x="1210" y="491"/>
                      <a:pt x="1210" y="491"/>
                      <a:pt x="1210" y="491"/>
                    </a:cubicBezTo>
                    <a:cubicBezTo>
                      <a:pt x="1213" y="494"/>
                      <a:pt x="1215" y="498"/>
                      <a:pt x="1215" y="502"/>
                    </a:cubicBezTo>
                    <a:cubicBezTo>
                      <a:pt x="1215" y="507"/>
                      <a:pt x="1213" y="511"/>
                      <a:pt x="1210" y="514"/>
                    </a:cubicBezTo>
                    <a:cubicBezTo>
                      <a:pt x="1155" y="569"/>
                      <a:pt x="1155" y="569"/>
                      <a:pt x="1155" y="569"/>
                    </a:cubicBezTo>
                    <a:cubicBezTo>
                      <a:pt x="1149" y="575"/>
                      <a:pt x="1138" y="575"/>
                      <a:pt x="1132" y="569"/>
                    </a:cubicBezTo>
                    <a:cubicBezTo>
                      <a:pt x="708" y="144"/>
                      <a:pt x="708" y="144"/>
                      <a:pt x="708" y="144"/>
                    </a:cubicBezTo>
                    <a:cubicBezTo>
                      <a:pt x="705" y="141"/>
                      <a:pt x="703" y="137"/>
                      <a:pt x="703" y="133"/>
                    </a:cubicBezTo>
                    <a:cubicBezTo>
                      <a:pt x="703" y="129"/>
                      <a:pt x="705" y="125"/>
                      <a:pt x="708" y="122"/>
                    </a:cubicBezTo>
                    <a:close/>
                    <a:moveTo>
                      <a:pt x="570" y="1154"/>
                    </a:moveTo>
                    <a:cubicBezTo>
                      <a:pt x="514" y="1209"/>
                      <a:pt x="514" y="1209"/>
                      <a:pt x="514" y="1209"/>
                    </a:cubicBezTo>
                    <a:cubicBezTo>
                      <a:pt x="508" y="1215"/>
                      <a:pt x="498" y="1215"/>
                      <a:pt x="492" y="1209"/>
                    </a:cubicBezTo>
                    <a:cubicBezTo>
                      <a:pt x="67" y="785"/>
                      <a:pt x="67" y="785"/>
                      <a:pt x="67" y="785"/>
                    </a:cubicBezTo>
                    <a:cubicBezTo>
                      <a:pt x="64" y="782"/>
                      <a:pt x="62" y="778"/>
                      <a:pt x="62" y="773"/>
                    </a:cubicBezTo>
                    <a:cubicBezTo>
                      <a:pt x="62" y="769"/>
                      <a:pt x="64" y="765"/>
                      <a:pt x="67" y="762"/>
                    </a:cubicBezTo>
                    <a:cubicBezTo>
                      <a:pt x="123" y="707"/>
                      <a:pt x="123" y="707"/>
                      <a:pt x="123" y="707"/>
                    </a:cubicBezTo>
                    <a:cubicBezTo>
                      <a:pt x="126" y="704"/>
                      <a:pt x="130" y="702"/>
                      <a:pt x="134" y="702"/>
                    </a:cubicBezTo>
                    <a:cubicBezTo>
                      <a:pt x="138" y="702"/>
                      <a:pt x="142" y="704"/>
                      <a:pt x="145" y="707"/>
                    </a:cubicBezTo>
                    <a:cubicBezTo>
                      <a:pt x="570" y="1131"/>
                      <a:pt x="570" y="1131"/>
                      <a:pt x="570" y="1131"/>
                    </a:cubicBezTo>
                    <a:cubicBezTo>
                      <a:pt x="576" y="1138"/>
                      <a:pt x="576" y="1148"/>
                      <a:pt x="570" y="1154"/>
                    </a:cubicBezTo>
                    <a:close/>
                    <a:moveTo>
                      <a:pt x="730" y="860"/>
                    </a:moveTo>
                    <a:cubicBezTo>
                      <a:pt x="730" y="860"/>
                      <a:pt x="730" y="860"/>
                      <a:pt x="730" y="860"/>
                    </a:cubicBezTo>
                    <a:cubicBezTo>
                      <a:pt x="558" y="1032"/>
                      <a:pt x="558" y="1032"/>
                      <a:pt x="558" y="1032"/>
                    </a:cubicBezTo>
                    <a:cubicBezTo>
                      <a:pt x="245" y="719"/>
                      <a:pt x="245" y="719"/>
                      <a:pt x="245" y="719"/>
                    </a:cubicBezTo>
                    <a:cubicBezTo>
                      <a:pt x="719" y="244"/>
                      <a:pt x="719" y="244"/>
                      <a:pt x="719" y="244"/>
                    </a:cubicBezTo>
                    <a:cubicBezTo>
                      <a:pt x="1032" y="557"/>
                      <a:pt x="1032" y="557"/>
                      <a:pt x="1032" y="557"/>
                    </a:cubicBezTo>
                    <a:cubicBezTo>
                      <a:pt x="860" y="729"/>
                      <a:pt x="860" y="729"/>
                      <a:pt x="860" y="729"/>
                    </a:cubicBezTo>
                    <a:cubicBezTo>
                      <a:pt x="860" y="729"/>
                      <a:pt x="860" y="729"/>
                      <a:pt x="860" y="729"/>
                    </a:cubicBezTo>
                    <a:lnTo>
                      <a:pt x="730" y="860"/>
                    </a:lnTo>
                    <a:close/>
                    <a:moveTo>
                      <a:pt x="1829" y="1680"/>
                    </a:moveTo>
                    <a:cubicBezTo>
                      <a:pt x="1680" y="1828"/>
                      <a:pt x="1680" y="1828"/>
                      <a:pt x="1680" y="1828"/>
                    </a:cubicBezTo>
                    <a:cubicBezTo>
                      <a:pt x="1677" y="1832"/>
                      <a:pt x="1673" y="1832"/>
                      <a:pt x="1671" y="1832"/>
                    </a:cubicBezTo>
                    <a:cubicBezTo>
                      <a:pt x="1668" y="1832"/>
                      <a:pt x="1664" y="1832"/>
                      <a:pt x="1661" y="1828"/>
                    </a:cubicBezTo>
                    <a:cubicBezTo>
                      <a:pt x="1240" y="1407"/>
                      <a:pt x="1240" y="1407"/>
                      <a:pt x="1240" y="1407"/>
                    </a:cubicBezTo>
                    <a:cubicBezTo>
                      <a:pt x="1236" y="1403"/>
                      <a:pt x="1236" y="1399"/>
                      <a:pt x="1236" y="1397"/>
                    </a:cubicBezTo>
                    <a:cubicBezTo>
                      <a:pt x="1236" y="1395"/>
                      <a:pt x="1236" y="1391"/>
                      <a:pt x="1240" y="1387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249" y="1378"/>
                      <a:pt x="1249" y="1378"/>
                      <a:pt x="1249" y="1378"/>
                    </a:cubicBezTo>
                    <a:cubicBezTo>
                      <a:pt x="1388" y="1239"/>
                      <a:pt x="1388" y="1239"/>
                      <a:pt x="1388" y="1239"/>
                    </a:cubicBezTo>
                    <a:cubicBezTo>
                      <a:pt x="1392" y="1235"/>
                      <a:pt x="1396" y="1235"/>
                      <a:pt x="1398" y="1235"/>
                    </a:cubicBezTo>
                    <a:cubicBezTo>
                      <a:pt x="1400" y="1235"/>
                      <a:pt x="1404" y="1235"/>
                      <a:pt x="1408" y="1239"/>
                    </a:cubicBezTo>
                    <a:cubicBezTo>
                      <a:pt x="1829" y="1660"/>
                      <a:pt x="1829" y="1660"/>
                      <a:pt x="1829" y="1660"/>
                    </a:cubicBezTo>
                    <a:cubicBezTo>
                      <a:pt x="1832" y="1664"/>
                      <a:pt x="1833" y="1668"/>
                      <a:pt x="1833" y="1670"/>
                    </a:cubicBezTo>
                    <a:cubicBezTo>
                      <a:pt x="1833" y="1672"/>
                      <a:pt x="1832" y="1676"/>
                      <a:pt x="1829" y="16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/>
              </a:p>
            </p:txBody>
          </p:sp>
          <p:sp>
            <p:nvSpPr>
              <p:cNvPr id="250" name="Freeform 69"/>
              <p:cNvSpPr>
                <a:spLocks noEditPoints="1"/>
              </p:cNvSpPr>
              <p:nvPr/>
            </p:nvSpPr>
            <p:spPr bwMode="auto">
              <a:xfrm>
                <a:off x="352425" y="6883400"/>
                <a:ext cx="285750" cy="109538"/>
              </a:xfrm>
              <a:custGeom>
                <a:avLst/>
                <a:gdLst>
                  <a:gd name="T0" fmla="*/ 1179 w 1314"/>
                  <a:gd name="T1" fmla="*/ 230 h 505"/>
                  <a:gd name="T2" fmla="*/ 1132 w 1314"/>
                  <a:gd name="T3" fmla="*/ 230 h 505"/>
                  <a:gd name="T4" fmla="*/ 1132 w 1314"/>
                  <a:gd name="T5" fmla="*/ 66 h 505"/>
                  <a:gd name="T6" fmla="*/ 1066 w 1314"/>
                  <a:gd name="T7" fmla="*/ 0 h 505"/>
                  <a:gd name="T8" fmla="*/ 530 w 1314"/>
                  <a:gd name="T9" fmla="*/ 0 h 505"/>
                  <a:gd name="T10" fmla="*/ 499 w 1314"/>
                  <a:gd name="T11" fmla="*/ 31 h 505"/>
                  <a:gd name="T12" fmla="*/ 530 w 1314"/>
                  <a:gd name="T13" fmla="*/ 62 h 505"/>
                  <a:gd name="T14" fmla="*/ 1066 w 1314"/>
                  <a:gd name="T15" fmla="*/ 62 h 505"/>
                  <a:gd name="T16" fmla="*/ 1070 w 1314"/>
                  <a:gd name="T17" fmla="*/ 66 h 505"/>
                  <a:gd name="T18" fmla="*/ 1070 w 1314"/>
                  <a:gd name="T19" fmla="*/ 230 h 505"/>
                  <a:gd name="T20" fmla="*/ 245 w 1314"/>
                  <a:gd name="T21" fmla="*/ 230 h 505"/>
                  <a:gd name="T22" fmla="*/ 245 w 1314"/>
                  <a:gd name="T23" fmla="*/ 66 h 505"/>
                  <a:gd name="T24" fmla="*/ 249 w 1314"/>
                  <a:gd name="T25" fmla="*/ 62 h 505"/>
                  <a:gd name="T26" fmla="*/ 335 w 1314"/>
                  <a:gd name="T27" fmla="*/ 62 h 505"/>
                  <a:gd name="T28" fmla="*/ 366 w 1314"/>
                  <a:gd name="T29" fmla="*/ 31 h 505"/>
                  <a:gd name="T30" fmla="*/ 335 w 1314"/>
                  <a:gd name="T31" fmla="*/ 0 h 505"/>
                  <a:gd name="T32" fmla="*/ 249 w 1314"/>
                  <a:gd name="T33" fmla="*/ 0 h 505"/>
                  <a:gd name="T34" fmla="*/ 182 w 1314"/>
                  <a:gd name="T35" fmla="*/ 66 h 505"/>
                  <a:gd name="T36" fmla="*/ 182 w 1314"/>
                  <a:gd name="T37" fmla="*/ 230 h 505"/>
                  <a:gd name="T38" fmla="*/ 135 w 1314"/>
                  <a:gd name="T39" fmla="*/ 230 h 505"/>
                  <a:gd name="T40" fmla="*/ 0 w 1314"/>
                  <a:gd name="T41" fmla="*/ 365 h 505"/>
                  <a:gd name="T42" fmla="*/ 0 w 1314"/>
                  <a:gd name="T43" fmla="*/ 453 h 505"/>
                  <a:gd name="T44" fmla="*/ 52 w 1314"/>
                  <a:gd name="T45" fmla="*/ 505 h 505"/>
                  <a:gd name="T46" fmla="*/ 1262 w 1314"/>
                  <a:gd name="T47" fmla="*/ 505 h 505"/>
                  <a:gd name="T48" fmla="*/ 1314 w 1314"/>
                  <a:gd name="T49" fmla="*/ 453 h 505"/>
                  <a:gd name="T50" fmla="*/ 1314 w 1314"/>
                  <a:gd name="T51" fmla="*/ 365 h 505"/>
                  <a:gd name="T52" fmla="*/ 1179 w 1314"/>
                  <a:gd name="T53" fmla="*/ 230 h 505"/>
                  <a:gd name="T54" fmla="*/ 1252 w 1314"/>
                  <a:gd name="T55" fmla="*/ 443 h 505"/>
                  <a:gd name="T56" fmla="*/ 62 w 1314"/>
                  <a:gd name="T57" fmla="*/ 443 h 505"/>
                  <a:gd name="T58" fmla="*/ 62 w 1314"/>
                  <a:gd name="T59" fmla="*/ 365 h 505"/>
                  <a:gd name="T60" fmla="*/ 135 w 1314"/>
                  <a:gd name="T61" fmla="*/ 292 h 505"/>
                  <a:gd name="T62" fmla="*/ 135 w 1314"/>
                  <a:gd name="T63" fmla="*/ 292 h 505"/>
                  <a:gd name="T64" fmla="*/ 1179 w 1314"/>
                  <a:gd name="T65" fmla="*/ 292 h 505"/>
                  <a:gd name="T66" fmla="*/ 1179 w 1314"/>
                  <a:gd name="T67" fmla="*/ 292 h 505"/>
                  <a:gd name="T68" fmla="*/ 1252 w 1314"/>
                  <a:gd name="T69" fmla="*/ 365 h 505"/>
                  <a:gd name="T70" fmla="*/ 1252 w 1314"/>
                  <a:gd name="T71" fmla="*/ 443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14" h="505">
                    <a:moveTo>
                      <a:pt x="1179" y="230"/>
                    </a:moveTo>
                    <a:cubicBezTo>
                      <a:pt x="1132" y="230"/>
                      <a:pt x="1132" y="230"/>
                      <a:pt x="1132" y="230"/>
                    </a:cubicBezTo>
                    <a:cubicBezTo>
                      <a:pt x="1132" y="66"/>
                      <a:pt x="1132" y="66"/>
                      <a:pt x="1132" y="66"/>
                    </a:cubicBezTo>
                    <a:cubicBezTo>
                      <a:pt x="1132" y="30"/>
                      <a:pt x="1102" y="0"/>
                      <a:pt x="1066" y="0"/>
                    </a:cubicBezTo>
                    <a:cubicBezTo>
                      <a:pt x="530" y="0"/>
                      <a:pt x="530" y="0"/>
                      <a:pt x="530" y="0"/>
                    </a:cubicBezTo>
                    <a:cubicBezTo>
                      <a:pt x="513" y="0"/>
                      <a:pt x="499" y="14"/>
                      <a:pt x="499" y="31"/>
                    </a:cubicBezTo>
                    <a:cubicBezTo>
                      <a:pt x="499" y="48"/>
                      <a:pt x="513" y="62"/>
                      <a:pt x="530" y="62"/>
                    </a:cubicBezTo>
                    <a:cubicBezTo>
                      <a:pt x="1066" y="62"/>
                      <a:pt x="1066" y="62"/>
                      <a:pt x="1066" y="62"/>
                    </a:cubicBezTo>
                    <a:cubicBezTo>
                      <a:pt x="1068" y="62"/>
                      <a:pt x="1070" y="64"/>
                      <a:pt x="1070" y="66"/>
                    </a:cubicBezTo>
                    <a:cubicBezTo>
                      <a:pt x="1070" y="230"/>
                      <a:pt x="1070" y="230"/>
                      <a:pt x="1070" y="230"/>
                    </a:cubicBezTo>
                    <a:cubicBezTo>
                      <a:pt x="245" y="230"/>
                      <a:pt x="245" y="230"/>
                      <a:pt x="245" y="230"/>
                    </a:cubicBezTo>
                    <a:cubicBezTo>
                      <a:pt x="245" y="66"/>
                      <a:pt x="245" y="66"/>
                      <a:pt x="245" y="66"/>
                    </a:cubicBezTo>
                    <a:cubicBezTo>
                      <a:pt x="245" y="64"/>
                      <a:pt x="246" y="62"/>
                      <a:pt x="249" y="62"/>
                    </a:cubicBezTo>
                    <a:cubicBezTo>
                      <a:pt x="335" y="62"/>
                      <a:pt x="335" y="62"/>
                      <a:pt x="335" y="62"/>
                    </a:cubicBezTo>
                    <a:cubicBezTo>
                      <a:pt x="352" y="62"/>
                      <a:pt x="366" y="48"/>
                      <a:pt x="366" y="31"/>
                    </a:cubicBezTo>
                    <a:cubicBezTo>
                      <a:pt x="366" y="14"/>
                      <a:pt x="352" y="0"/>
                      <a:pt x="335" y="0"/>
                    </a:cubicBezTo>
                    <a:cubicBezTo>
                      <a:pt x="249" y="0"/>
                      <a:pt x="249" y="0"/>
                      <a:pt x="249" y="0"/>
                    </a:cubicBezTo>
                    <a:cubicBezTo>
                      <a:pt x="212" y="0"/>
                      <a:pt x="182" y="30"/>
                      <a:pt x="182" y="66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35" y="230"/>
                      <a:pt x="135" y="230"/>
                      <a:pt x="135" y="230"/>
                    </a:cubicBezTo>
                    <a:cubicBezTo>
                      <a:pt x="61" y="230"/>
                      <a:pt x="0" y="291"/>
                      <a:pt x="0" y="365"/>
                    </a:cubicBezTo>
                    <a:cubicBezTo>
                      <a:pt x="0" y="453"/>
                      <a:pt x="0" y="453"/>
                      <a:pt x="0" y="453"/>
                    </a:cubicBezTo>
                    <a:cubicBezTo>
                      <a:pt x="0" y="482"/>
                      <a:pt x="23" y="505"/>
                      <a:pt x="52" y="505"/>
                    </a:cubicBezTo>
                    <a:cubicBezTo>
                      <a:pt x="1262" y="505"/>
                      <a:pt x="1262" y="505"/>
                      <a:pt x="1262" y="505"/>
                    </a:cubicBezTo>
                    <a:cubicBezTo>
                      <a:pt x="1291" y="505"/>
                      <a:pt x="1314" y="482"/>
                      <a:pt x="1314" y="453"/>
                    </a:cubicBezTo>
                    <a:cubicBezTo>
                      <a:pt x="1314" y="365"/>
                      <a:pt x="1314" y="365"/>
                      <a:pt x="1314" y="365"/>
                    </a:cubicBezTo>
                    <a:cubicBezTo>
                      <a:pt x="1314" y="291"/>
                      <a:pt x="1254" y="230"/>
                      <a:pt x="1179" y="230"/>
                    </a:cubicBezTo>
                    <a:close/>
                    <a:moveTo>
                      <a:pt x="1252" y="443"/>
                    </a:moveTo>
                    <a:cubicBezTo>
                      <a:pt x="62" y="443"/>
                      <a:pt x="62" y="443"/>
                      <a:pt x="62" y="443"/>
                    </a:cubicBezTo>
                    <a:cubicBezTo>
                      <a:pt x="62" y="365"/>
                      <a:pt x="62" y="365"/>
                      <a:pt x="62" y="365"/>
                    </a:cubicBezTo>
                    <a:cubicBezTo>
                      <a:pt x="62" y="325"/>
                      <a:pt x="95" y="292"/>
                      <a:pt x="135" y="292"/>
                    </a:cubicBezTo>
                    <a:cubicBezTo>
                      <a:pt x="135" y="292"/>
                      <a:pt x="135" y="292"/>
                      <a:pt x="135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179" y="292"/>
                      <a:pt x="1179" y="292"/>
                      <a:pt x="1179" y="292"/>
                    </a:cubicBezTo>
                    <a:cubicBezTo>
                      <a:pt x="1219" y="292"/>
                      <a:pt x="1252" y="325"/>
                      <a:pt x="1252" y="365"/>
                    </a:cubicBezTo>
                    <a:cubicBezTo>
                      <a:pt x="1252" y="443"/>
                      <a:pt x="1252" y="443"/>
                      <a:pt x="1252" y="4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600" dirty="0"/>
              </a:p>
            </p:txBody>
          </p:sp>
        </p:grpSp>
        <p:sp>
          <p:nvSpPr>
            <p:cNvPr id="324" name="TextBox 323"/>
            <p:cNvSpPr txBox="1"/>
            <p:nvPr/>
          </p:nvSpPr>
          <p:spPr>
            <a:xfrm>
              <a:off x="3457504" y="2252652"/>
              <a:ext cx="190757" cy="923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600" dirty="0">
                  <a:solidFill>
                    <a:schemeClr val="tx2"/>
                  </a:solidFill>
                  <a:latin typeface="+mj-lt"/>
                </a:rPr>
                <a:t>Legal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617470" y="2517390"/>
            <a:ext cx="512615" cy="512615"/>
            <a:chOff x="3578513" y="2591950"/>
            <a:chExt cx="502920" cy="502920"/>
          </a:xfrm>
        </p:grpSpPr>
        <p:sp>
          <p:nvSpPr>
            <p:cNvPr id="291" name="Oval 290"/>
            <p:cNvSpPr/>
            <p:nvPr/>
          </p:nvSpPr>
          <p:spPr>
            <a:xfrm>
              <a:off x="3578513" y="2591950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66" name="Group 65"/>
            <p:cNvGrpSpPr/>
            <p:nvPr/>
          </p:nvGrpSpPr>
          <p:grpSpPr>
            <a:xfrm>
              <a:off x="3674482" y="2723366"/>
              <a:ext cx="310983" cy="240089"/>
              <a:chOff x="3674482" y="2731468"/>
              <a:chExt cx="310983" cy="240089"/>
            </a:xfrm>
          </p:grpSpPr>
          <p:grpSp>
            <p:nvGrpSpPr>
              <p:cNvPr id="251" name="Group 250"/>
              <p:cNvGrpSpPr/>
              <p:nvPr/>
            </p:nvGrpSpPr>
            <p:grpSpPr>
              <a:xfrm>
                <a:off x="3729318" y="2731468"/>
                <a:ext cx="201310" cy="126032"/>
                <a:chOff x="-249238" y="6354763"/>
                <a:chExt cx="560388" cy="350837"/>
              </a:xfrm>
              <a:solidFill>
                <a:schemeClr val="tx2"/>
              </a:solidFill>
            </p:grpSpPr>
            <p:sp>
              <p:nvSpPr>
                <p:cNvPr id="252" name="Freeform 73"/>
                <p:cNvSpPr>
                  <a:spLocks noEditPoints="1"/>
                </p:cNvSpPr>
                <p:nvPr/>
              </p:nvSpPr>
              <p:spPr bwMode="auto">
                <a:xfrm>
                  <a:off x="-249238" y="6354763"/>
                  <a:ext cx="560388" cy="350837"/>
                </a:xfrm>
                <a:custGeom>
                  <a:avLst/>
                  <a:gdLst>
                    <a:gd name="T0" fmla="*/ 2005 w 2048"/>
                    <a:gd name="T1" fmla="*/ 0 h 1280"/>
                    <a:gd name="T2" fmla="*/ 43 w 2048"/>
                    <a:gd name="T3" fmla="*/ 0 h 1280"/>
                    <a:gd name="T4" fmla="*/ 0 w 2048"/>
                    <a:gd name="T5" fmla="*/ 43 h 1280"/>
                    <a:gd name="T6" fmla="*/ 0 w 2048"/>
                    <a:gd name="T7" fmla="*/ 1237 h 1280"/>
                    <a:gd name="T8" fmla="*/ 43 w 2048"/>
                    <a:gd name="T9" fmla="*/ 1280 h 1280"/>
                    <a:gd name="T10" fmla="*/ 2005 w 2048"/>
                    <a:gd name="T11" fmla="*/ 1280 h 1280"/>
                    <a:gd name="T12" fmla="*/ 2048 w 2048"/>
                    <a:gd name="T13" fmla="*/ 1237 h 1280"/>
                    <a:gd name="T14" fmla="*/ 2048 w 2048"/>
                    <a:gd name="T15" fmla="*/ 43 h 1280"/>
                    <a:gd name="T16" fmla="*/ 2005 w 2048"/>
                    <a:gd name="T17" fmla="*/ 0 h 1280"/>
                    <a:gd name="T18" fmla="*/ 1963 w 2048"/>
                    <a:gd name="T19" fmla="*/ 1195 h 1280"/>
                    <a:gd name="T20" fmla="*/ 85 w 2048"/>
                    <a:gd name="T21" fmla="*/ 1195 h 1280"/>
                    <a:gd name="T22" fmla="*/ 85 w 2048"/>
                    <a:gd name="T23" fmla="*/ 85 h 1280"/>
                    <a:gd name="T24" fmla="*/ 1963 w 2048"/>
                    <a:gd name="T25" fmla="*/ 85 h 1280"/>
                    <a:gd name="T26" fmla="*/ 1963 w 2048"/>
                    <a:gd name="T27" fmla="*/ 1195 h 1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48" h="1280">
                      <a:moveTo>
                        <a:pt x="2005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1237"/>
                        <a:pt x="0" y="1237"/>
                        <a:pt x="0" y="1237"/>
                      </a:cubicBezTo>
                      <a:cubicBezTo>
                        <a:pt x="0" y="1261"/>
                        <a:pt x="19" y="1280"/>
                        <a:pt x="43" y="1280"/>
                      </a:cubicBezTo>
                      <a:cubicBezTo>
                        <a:pt x="2005" y="1280"/>
                        <a:pt x="2005" y="1280"/>
                        <a:pt x="2005" y="1280"/>
                      </a:cubicBezTo>
                      <a:cubicBezTo>
                        <a:pt x="2029" y="1280"/>
                        <a:pt x="2048" y="1261"/>
                        <a:pt x="2048" y="1237"/>
                      </a:cubicBezTo>
                      <a:cubicBezTo>
                        <a:pt x="2048" y="43"/>
                        <a:pt x="2048" y="43"/>
                        <a:pt x="2048" y="43"/>
                      </a:cubicBezTo>
                      <a:cubicBezTo>
                        <a:pt x="2048" y="19"/>
                        <a:pt x="2029" y="0"/>
                        <a:pt x="2005" y="0"/>
                      </a:cubicBezTo>
                      <a:close/>
                      <a:moveTo>
                        <a:pt x="1963" y="1195"/>
                      </a:moveTo>
                      <a:cubicBezTo>
                        <a:pt x="85" y="1195"/>
                        <a:pt x="85" y="1195"/>
                        <a:pt x="85" y="1195"/>
                      </a:cubicBezTo>
                      <a:cubicBezTo>
                        <a:pt x="85" y="85"/>
                        <a:pt x="85" y="85"/>
                        <a:pt x="85" y="85"/>
                      </a:cubicBezTo>
                      <a:cubicBezTo>
                        <a:pt x="1963" y="85"/>
                        <a:pt x="1963" y="85"/>
                        <a:pt x="1963" y="85"/>
                      </a:cubicBezTo>
                      <a:lnTo>
                        <a:pt x="1963" y="11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3" name="Freeform 74"/>
                <p:cNvSpPr>
                  <a:spLocks noEditPoints="1"/>
                </p:cNvSpPr>
                <p:nvPr/>
              </p:nvSpPr>
              <p:spPr bwMode="auto">
                <a:xfrm>
                  <a:off x="-203200" y="6418263"/>
                  <a:ext cx="187325" cy="123825"/>
                </a:xfrm>
                <a:custGeom>
                  <a:avLst/>
                  <a:gdLst>
                    <a:gd name="T0" fmla="*/ 68 w 118"/>
                    <a:gd name="T1" fmla="*/ 78 h 78"/>
                    <a:gd name="T2" fmla="*/ 118 w 118"/>
                    <a:gd name="T3" fmla="*/ 78 h 78"/>
                    <a:gd name="T4" fmla="*/ 73 w 118"/>
                    <a:gd name="T5" fmla="*/ 0 h 78"/>
                    <a:gd name="T6" fmla="*/ 47 w 118"/>
                    <a:gd name="T7" fmla="*/ 44 h 78"/>
                    <a:gd name="T8" fmla="*/ 34 w 118"/>
                    <a:gd name="T9" fmla="*/ 22 h 78"/>
                    <a:gd name="T10" fmla="*/ 0 w 118"/>
                    <a:gd name="T11" fmla="*/ 78 h 78"/>
                    <a:gd name="T12" fmla="*/ 28 w 118"/>
                    <a:gd name="T13" fmla="*/ 78 h 78"/>
                    <a:gd name="T14" fmla="*/ 68 w 118"/>
                    <a:gd name="T15" fmla="*/ 78 h 78"/>
                    <a:gd name="T16" fmla="*/ 73 w 118"/>
                    <a:gd name="T17" fmla="*/ 29 h 78"/>
                    <a:gd name="T18" fmla="*/ 93 w 118"/>
                    <a:gd name="T19" fmla="*/ 63 h 78"/>
                    <a:gd name="T20" fmla="*/ 54 w 118"/>
                    <a:gd name="T21" fmla="*/ 63 h 78"/>
                    <a:gd name="T22" fmla="*/ 73 w 118"/>
                    <a:gd name="T23" fmla="*/ 29 h 78"/>
                    <a:gd name="T24" fmla="*/ 26 w 118"/>
                    <a:gd name="T25" fmla="*/ 63 h 78"/>
                    <a:gd name="T26" fmla="*/ 34 w 118"/>
                    <a:gd name="T27" fmla="*/ 50 h 78"/>
                    <a:gd name="T28" fmla="*/ 39 w 118"/>
                    <a:gd name="T29" fmla="*/ 59 h 78"/>
                    <a:gd name="T30" fmla="*/ 37 w 118"/>
                    <a:gd name="T31" fmla="*/ 63 h 78"/>
                    <a:gd name="T32" fmla="*/ 26 w 118"/>
                    <a:gd name="T33" fmla="*/ 63 h 78"/>
                    <a:gd name="T34" fmla="*/ 26 w 118"/>
                    <a:gd name="T35" fmla="*/ 63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8" h="78">
                      <a:moveTo>
                        <a:pt x="68" y="78"/>
                      </a:moveTo>
                      <a:lnTo>
                        <a:pt x="118" y="78"/>
                      </a:lnTo>
                      <a:lnTo>
                        <a:pt x="73" y="0"/>
                      </a:lnTo>
                      <a:lnTo>
                        <a:pt x="47" y="44"/>
                      </a:lnTo>
                      <a:lnTo>
                        <a:pt x="34" y="22"/>
                      </a:lnTo>
                      <a:lnTo>
                        <a:pt x="0" y="78"/>
                      </a:lnTo>
                      <a:lnTo>
                        <a:pt x="28" y="78"/>
                      </a:lnTo>
                      <a:lnTo>
                        <a:pt x="68" y="78"/>
                      </a:lnTo>
                      <a:close/>
                      <a:moveTo>
                        <a:pt x="73" y="29"/>
                      </a:moveTo>
                      <a:lnTo>
                        <a:pt x="93" y="63"/>
                      </a:lnTo>
                      <a:lnTo>
                        <a:pt x="54" y="63"/>
                      </a:lnTo>
                      <a:lnTo>
                        <a:pt x="73" y="29"/>
                      </a:lnTo>
                      <a:close/>
                      <a:moveTo>
                        <a:pt x="26" y="63"/>
                      </a:moveTo>
                      <a:lnTo>
                        <a:pt x="34" y="50"/>
                      </a:lnTo>
                      <a:lnTo>
                        <a:pt x="39" y="59"/>
                      </a:lnTo>
                      <a:lnTo>
                        <a:pt x="37" y="63"/>
                      </a:lnTo>
                      <a:lnTo>
                        <a:pt x="26" y="63"/>
                      </a:lnTo>
                      <a:lnTo>
                        <a:pt x="26" y="6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4" name="Freeform 75"/>
                <p:cNvSpPr>
                  <a:spLocks/>
                </p:cNvSpPr>
                <p:nvPr/>
              </p:nvSpPr>
              <p:spPr bwMode="auto">
                <a:xfrm>
                  <a:off x="53975" y="6635750"/>
                  <a:ext cx="209550" cy="23812"/>
                </a:xfrm>
                <a:custGeom>
                  <a:avLst/>
                  <a:gdLst>
                    <a:gd name="T0" fmla="*/ 43 w 768"/>
                    <a:gd name="T1" fmla="*/ 85 h 85"/>
                    <a:gd name="T2" fmla="*/ 726 w 768"/>
                    <a:gd name="T3" fmla="*/ 85 h 85"/>
                    <a:gd name="T4" fmla="*/ 768 w 768"/>
                    <a:gd name="T5" fmla="*/ 43 h 85"/>
                    <a:gd name="T6" fmla="*/ 726 w 768"/>
                    <a:gd name="T7" fmla="*/ 0 h 85"/>
                    <a:gd name="T8" fmla="*/ 43 w 768"/>
                    <a:gd name="T9" fmla="*/ 0 h 85"/>
                    <a:gd name="T10" fmla="*/ 0 w 768"/>
                    <a:gd name="T11" fmla="*/ 43 h 85"/>
                    <a:gd name="T12" fmla="*/ 43 w 768"/>
                    <a:gd name="T13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68" h="85">
                      <a:moveTo>
                        <a:pt x="43" y="85"/>
                      </a:moveTo>
                      <a:cubicBezTo>
                        <a:pt x="726" y="85"/>
                        <a:pt x="726" y="85"/>
                        <a:pt x="726" y="85"/>
                      </a:cubicBezTo>
                      <a:cubicBezTo>
                        <a:pt x="749" y="85"/>
                        <a:pt x="768" y="66"/>
                        <a:pt x="768" y="43"/>
                      </a:cubicBezTo>
                      <a:cubicBezTo>
                        <a:pt x="768" y="19"/>
                        <a:pt x="749" y="0"/>
                        <a:pt x="726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6"/>
                        <a:pt x="19" y="85"/>
                        <a:pt x="43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5" name="Freeform 76"/>
                <p:cNvSpPr>
                  <a:spLocks/>
                </p:cNvSpPr>
                <p:nvPr/>
              </p:nvSpPr>
              <p:spPr bwMode="auto">
                <a:xfrm>
                  <a:off x="147637" y="6588125"/>
                  <a:ext cx="115888" cy="23812"/>
                </a:xfrm>
                <a:custGeom>
                  <a:avLst/>
                  <a:gdLst>
                    <a:gd name="T0" fmla="*/ 42 w 426"/>
                    <a:gd name="T1" fmla="*/ 86 h 86"/>
                    <a:gd name="T2" fmla="*/ 384 w 426"/>
                    <a:gd name="T3" fmla="*/ 86 h 86"/>
                    <a:gd name="T4" fmla="*/ 426 w 426"/>
                    <a:gd name="T5" fmla="*/ 43 h 86"/>
                    <a:gd name="T6" fmla="*/ 384 w 426"/>
                    <a:gd name="T7" fmla="*/ 0 h 86"/>
                    <a:gd name="T8" fmla="*/ 42 w 426"/>
                    <a:gd name="T9" fmla="*/ 0 h 86"/>
                    <a:gd name="T10" fmla="*/ 0 w 426"/>
                    <a:gd name="T11" fmla="*/ 43 h 86"/>
                    <a:gd name="T12" fmla="*/ 42 w 426"/>
                    <a:gd name="T13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26" h="86">
                      <a:moveTo>
                        <a:pt x="42" y="86"/>
                      </a:moveTo>
                      <a:cubicBezTo>
                        <a:pt x="384" y="86"/>
                        <a:pt x="384" y="86"/>
                        <a:pt x="384" y="86"/>
                      </a:cubicBezTo>
                      <a:cubicBezTo>
                        <a:pt x="407" y="86"/>
                        <a:pt x="426" y="67"/>
                        <a:pt x="426" y="43"/>
                      </a:cubicBezTo>
                      <a:cubicBezTo>
                        <a:pt x="426" y="19"/>
                        <a:pt x="407" y="0"/>
                        <a:pt x="384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7"/>
                        <a:pt x="19" y="86"/>
                        <a:pt x="42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5" name="TextBox 324"/>
              <p:cNvSpPr txBox="1"/>
              <p:nvPr/>
            </p:nvSpPr>
            <p:spPr>
              <a:xfrm>
                <a:off x="3674482" y="2879224"/>
                <a:ext cx="31098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Branding</a:t>
                </a:r>
              </a:p>
            </p:txBody>
          </p:sp>
        </p:grpSp>
      </p:grpSp>
      <p:grpSp>
        <p:nvGrpSpPr>
          <p:cNvPr id="335" name="Group 334"/>
          <p:cNvGrpSpPr/>
          <p:nvPr/>
        </p:nvGrpSpPr>
        <p:grpSpPr>
          <a:xfrm>
            <a:off x="6222694" y="3386842"/>
            <a:ext cx="512615" cy="512615"/>
            <a:chOff x="3315275" y="3186846"/>
            <a:chExt cx="502920" cy="502920"/>
          </a:xfrm>
        </p:grpSpPr>
        <p:sp>
          <p:nvSpPr>
            <p:cNvPr id="292" name="Oval 291"/>
            <p:cNvSpPr/>
            <p:nvPr/>
          </p:nvSpPr>
          <p:spPr>
            <a:xfrm>
              <a:off x="3315275" y="3186846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4" name="Group 333"/>
            <p:cNvGrpSpPr/>
            <p:nvPr/>
          </p:nvGrpSpPr>
          <p:grpSpPr>
            <a:xfrm>
              <a:off x="3427274" y="3295316"/>
              <a:ext cx="278923" cy="285980"/>
              <a:chOff x="3427274" y="3280630"/>
              <a:chExt cx="278923" cy="285980"/>
            </a:xfrm>
          </p:grpSpPr>
          <p:grpSp>
            <p:nvGrpSpPr>
              <p:cNvPr id="198" name="Group 197"/>
              <p:cNvGrpSpPr/>
              <p:nvPr/>
            </p:nvGrpSpPr>
            <p:grpSpPr>
              <a:xfrm>
                <a:off x="3486518" y="3280630"/>
                <a:ext cx="160435" cy="184419"/>
                <a:chOff x="4113212" y="2852738"/>
                <a:chExt cx="785813" cy="903288"/>
              </a:xfrm>
              <a:solidFill>
                <a:schemeClr val="tx2"/>
              </a:solidFill>
            </p:grpSpPr>
            <p:sp>
              <p:nvSpPr>
                <p:cNvPr id="199" name="Freeform 275"/>
                <p:cNvSpPr>
                  <a:spLocks/>
                </p:cNvSpPr>
                <p:nvPr/>
              </p:nvSpPr>
              <p:spPr bwMode="auto">
                <a:xfrm>
                  <a:off x="4113212" y="2852738"/>
                  <a:ext cx="784226" cy="903288"/>
                </a:xfrm>
                <a:custGeom>
                  <a:avLst/>
                  <a:gdLst>
                    <a:gd name="T0" fmla="*/ 180 w 345"/>
                    <a:gd name="T1" fmla="*/ 399 h 399"/>
                    <a:gd name="T2" fmla="*/ 178 w 345"/>
                    <a:gd name="T3" fmla="*/ 398 h 399"/>
                    <a:gd name="T4" fmla="*/ 12 w 345"/>
                    <a:gd name="T5" fmla="*/ 164 h 399"/>
                    <a:gd name="T6" fmla="*/ 15 w 345"/>
                    <a:gd name="T7" fmla="*/ 5 h 399"/>
                    <a:gd name="T8" fmla="*/ 16 w 345"/>
                    <a:gd name="T9" fmla="*/ 0 h 399"/>
                    <a:gd name="T10" fmla="*/ 220 w 345"/>
                    <a:gd name="T11" fmla="*/ 0 h 399"/>
                    <a:gd name="T12" fmla="*/ 220 w 345"/>
                    <a:gd name="T13" fmla="*/ 12 h 399"/>
                    <a:gd name="T14" fmla="*/ 26 w 345"/>
                    <a:gd name="T15" fmla="*/ 12 h 399"/>
                    <a:gd name="T16" fmla="*/ 24 w 345"/>
                    <a:gd name="T17" fmla="*/ 162 h 399"/>
                    <a:gd name="T18" fmla="*/ 180 w 345"/>
                    <a:gd name="T19" fmla="*/ 386 h 399"/>
                    <a:gd name="T20" fmla="*/ 333 w 345"/>
                    <a:gd name="T21" fmla="*/ 126 h 399"/>
                    <a:gd name="T22" fmla="*/ 345 w 345"/>
                    <a:gd name="T23" fmla="*/ 127 h 399"/>
                    <a:gd name="T24" fmla="*/ 182 w 345"/>
                    <a:gd name="T25" fmla="*/ 398 h 399"/>
                    <a:gd name="T26" fmla="*/ 180 w 345"/>
                    <a:gd name="T27" fmla="*/ 399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5" h="399">
                      <a:moveTo>
                        <a:pt x="180" y="399"/>
                      </a:moveTo>
                      <a:cubicBezTo>
                        <a:pt x="178" y="398"/>
                        <a:pt x="178" y="398"/>
                        <a:pt x="178" y="398"/>
                      </a:cubicBezTo>
                      <a:cubicBezTo>
                        <a:pt x="86" y="358"/>
                        <a:pt x="29" y="276"/>
                        <a:pt x="12" y="164"/>
                      </a:cubicBezTo>
                      <a:cubicBezTo>
                        <a:pt x="0" y="79"/>
                        <a:pt x="15" y="8"/>
                        <a:pt x="15" y="5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220" y="0"/>
                        <a:pt x="220" y="0"/>
                        <a:pt x="220" y="0"/>
                      </a:cubicBezTo>
                      <a:cubicBezTo>
                        <a:pt x="220" y="12"/>
                        <a:pt x="220" y="12"/>
                        <a:pt x="220" y="12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3" y="29"/>
                        <a:pt x="14" y="92"/>
                        <a:pt x="24" y="162"/>
                      </a:cubicBezTo>
                      <a:cubicBezTo>
                        <a:pt x="40" y="271"/>
                        <a:pt x="92" y="346"/>
                        <a:pt x="180" y="386"/>
                      </a:cubicBezTo>
                      <a:cubicBezTo>
                        <a:pt x="199" y="377"/>
                        <a:pt x="331" y="305"/>
                        <a:pt x="333" y="126"/>
                      </a:cubicBezTo>
                      <a:cubicBezTo>
                        <a:pt x="345" y="127"/>
                        <a:pt x="345" y="127"/>
                        <a:pt x="345" y="127"/>
                      </a:cubicBezTo>
                      <a:cubicBezTo>
                        <a:pt x="342" y="327"/>
                        <a:pt x="184" y="398"/>
                        <a:pt x="182" y="398"/>
                      </a:cubicBezTo>
                      <a:lnTo>
                        <a:pt x="180" y="3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0" name="Freeform 276"/>
                <p:cNvSpPr>
                  <a:spLocks/>
                </p:cNvSpPr>
                <p:nvPr/>
              </p:nvSpPr>
              <p:spPr bwMode="auto">
                <a:xfrm>
                  <a:off x="4718050" y="2852738"/>
                  <a:ext cx="180975" cy="180975"/>
                </a:xfrm>
                <a:custGeom>
                  <a:avLst/>
                  <a:gdLst>
                    <a:gd name="T0" fmla="*/ 114 w 114"/>
                    <a:gd name="T1" fmla="*/ 114 h 114"/>
                    <a:gd name="T2" fmla="*/ 97 w 114"/>
                    <a:gd name="T3" fmla="*/ 114 h 114"/>
                    <a:gd name="T4" fmla="*/ 97 w 114"/>
                    <a:gd name="T5" fmla="*/ 17 h 114"/>
                    <a:gd name="T6" fmla="*/ 0 w 114"/>
                    <a:gd name="T7" fmla="*/ 17 h 114"/>
                    <a:gd name="T8" fmla="*/ 0 w 114"/>
                    <a:gd name="T9" fmla="*/ 0 h 114"/>
                    <a:gd name="T10" fmla="*/ 114 w 114"/>
                    <a:gd name="T11" fmla="*/ 0 h 114"/>
                    <a:gd name="T12" fmla="*/ 114 w 114"/>
                    <a:gd name="T13" fmla="*/ 114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114">
                      <a:moveTo>
                        <a:pt x="114" y="114"/>
                      </a:moveTo>
                      <a:lnTo>
                        <a:pt x="97" y="114"/>
                      </a:lnTo>
                      <a:lnTo>
                        <a:pt x="97" y="17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114" y="0"/>
                      </a:lnTo>
                      <a:lnTo>
                        <a:pt x="114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1" name="Freeform 277"/>
                <p:cNvSpPr>
                  <a:spLocks/>
                </p:cNvSpPr>
                <p:nvPr/>
              </p:nvSpPr>
              <p:spPr bwMode="auto">
                <a:xfrm>
                  <a:off x="4237038" y="2857500"/>
                  <a:ext cx="658813" cy="638175"/>
                </a:xfrm>
                <a:custGeom>
                  <a:avLst/>
                  <a:gdLst>
                    <a:gd name="T0" fmla="*/ 12 w 415"/>
                    <a:gd name="T1" fmla="*/ 402 h 402"/>
                    <a:gd name="T2" fmla="*/ 0 w 415"/>
                    <a:gd name="T3" fmla="*/ 391 h 402"/>
                    <a:gd name="T4" fmla="*/ 402 w 415"/>
                    <a:gd name="T5" fmla="*/ 0 h 402"/>
                    <a:gd name="T6" fmla="*/ 415 w 415"/>
                    <a:gd name="T7" fmla="*/ 13 h 402"/>
                    <a:gd name="T8" fmla="*/ 12 w 415"/>
                    <a:gd name="T9" fmla="*/ 402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402">
                      <a:moveTo>
                        <a:pt x="12" y="402"/>
                      </a:moveTo>
                      <a:lnTo>
                        <a:pt x="0" y="391"/>
                      </a:lnTo>
                      <a:lnTo>
                        <a:pt x="402" y="0"/>
                      </a:lnTo>
                      <a:lnTo>
                        <a:pt x="415" y="13"/>
                      </a:lnTo>
                      <a:lnTo>
                        <a:pt x="12" y="40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02" name="Freeform 278"/>
                <p:cNvSpPr>
                  <a:spLocks/>
                </p:cNvSpPr>
                <p:nvPr/>
              </p:nvSpPr>
              <p:spPr bwMode="auto">
                <a:xfrm>
                  <a:off x="4355501" y="3142631"/>
                  <a:ext cx="536575" cy="523875"/>
                </a:xfrm>
                <a:custGeom>
                  <a:avLst/>
                  <a:gdLst>
                    <a:gd name="T0" fmla="*/ 13 w 338"/>
                    <a:gd name="T1" fmla="*/ 330 h 330"/>
                    <a:gd name="T2" fmla="*/ 0 w 338"/>
                    <a:gd name="T3" fmla="*/ 317 h 330"/>
                    <a:gd name="T4" fmla="*/ 325 w 338"/>
                    <a:gd name="T5" fmla="*/ 0 h 330"/>
                    <a:gd name="T6" fmla="*/ 338 w 338"/>
                    <a:gd name="T7" fmla="*/ 13 h 330"/>
                    <a:gd name="T8" fmla="*/ 13 w 338"/>
                    <a:gd name="T9" fmla="*/ 330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8" h="330">
                      <a:moveTo>
                        <a:pt x="13" y="330"/>
                      </a:moveTo>
                      <a:lnTo>
                        <a:pt x="0" y="317"/>
                      </a:lnTo>
                      <a:lnTo>
                        <a:pt x="325" y="0"/>
                      </a:lnTo>
                      <a:lnTo>
                        <a:pt x="338" y="13"/>
                      </a:lnTo>
                      <a:lnTo>
                        <a:pt x="13" y="3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6" name="TextBox 325"/>
              <p:cNvSpPr txBox="1"/>
              <p:nvPr/>
            </p:nvSpPr>
            <p:spPr>
              <a:xfrm>
                <a:off x="3427274" y="3474277"/>
                <a:ext cx="278923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Security</a:t>
                </a:r>
              </a:p>
            </p:txBody>
          </p:sp>
        </p:grpSp>
      </p:grpSp>
      <p:grpSp>
        <p:nvGrpSpPr>
          <p:cNvPr id="337" name="Group 336"/>
          <p:cNvGrpSpPr/>
          <p:nvPr/>
        </p:nvGrpSpPr>
        <p:grpSpPr>
          <a:xfrm>
            <a:off x="5298027" y="3650155"/>
            <a:ext cx="512615" cy="512615"/>
            <a:chOff x="2700292" y="3424068"/>
            <a:chExt cx="502920" cy="502920"/>
          </a:xfrm>
        </p:grpSpPr>
        <p:sp>
          <p:nvSpPr>
            <p:cNvPr id="300" name="Oval 299"/>
            <p:cNvSpPr/>
            <p:nvPr/>
          </p:nvSpPr>
          <p:spPr>
            <a:xfrm>
              <a:off x="2700292" y="3424068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6" name="Group 335"/>
            <p:cNvGrpSpPr/>
            <p:nvPr/>
          </p:nvGrpSpPr>
          <p:grpSpPr>
            <a:xfrm>
              <a:off x="2820306" y="3519263"/>
              <a:ext cx="262892" cy="312531"/>
              <a:chOff x="2820306" y="3506232"/>
              <a:chExt cx="262892" cy="312531"/>
            </a:xfrm>
          </p:grpSpPr>
          <p:grpSp>
            <p:nvGrpSpPr>
              <p:cNvPr id="208" name="Group 207"/>
              <p:cNvGrpSpPr/>
              <p:nvPr/>
            </p:nvGrpSpPr>
            <p:grpSpPr>
              <a:xfrm>
                <a:off x="2849577" y="3506232"/>
                <a:ext cx="204350" cy="204707"/>
                <a:chOff x="7940675" y="79375"/>
                <a:chExt cx="909638" cy="911226"/>
              </a:xfrm>
              <a:solidFill>
                <a:schemeClr val="tx2"/>
              </a:solidFill>
            </p:grpSpPr>
            <p:sp>
              <p:nvSpPr>
                <p:cNvPr id="209" name="Freeform 164"/>
                <p:cNvSpPr>
                  <a:spLocks noEditPoints="1"/>
                </p:cNvSpPr>
                <p:nvPr/>
              </p:nvSpPr>
              <p:spPr bwMode="auto">
                <a:xfrm>
                  <a:off x="7940675" y="79375"/>
                  <a:ext cx="909638" cy="911226"/>
                </a:xfrm>
                <a:custGeom>
                  <a:avLst/>
                  <a:gdLst>
                    <a:gd name="T0" fmla="*/ 200 w 399"/>
                    <a:gd name="T1" fmla="*/ 0 h 399"/>
                    <a:gd name="T2" fmla="*/ 0 w 399"/>
                    <a:gd name="T3" fmla="*/ 199 h 399"/>
                    <a:gd name="T4" fmla="*/ 200 w 399"/>
                    <a:gd name="T5" fmla="*/ 399 h 399"/>
                    <a:gd name="T6" fmla="*/ 399 w 399"/>
                    <a:gd name="T7" fmla="*/ 199 h 399"/>
                    <a:gd name="T8" fmla="*/ 200 w 399"/>
                    <a:gd name="T9" fmla="*/ 0 h 399"/>
                    <a:gd name="T10" fmla="*/ 200 w 399"/>
                    <a:gd name="T11" fmla="*/ 387 h 399"/>
                    <a:gd name="T12" fmla="*/ 12 w 399"/>
                    <a:gd name="T13" fmla="*/ 199 h 399"/>
                    <a:gd name="T14" fmla="*/ 200 w 399"/>
                    <a:gd name="T15" fmla="*/ 12 h 399"/>
                    <a:gd name="T16" fmla="*/ 387 w 399"/>
                    <a:gd name="T17" fmla="*/ 199 h 399"/>
                    <a:gd name="T18" fmla="*/ 200 w 399"/>
                    <a:gd name="T19" fmla="*/ 387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399">
                      <a:moveTo>
                        <a:pt x="200" y="0"/>
                      </a:moveTo>
                      <a:cubicBezTo>
                        <a:pt x="90" y="0"/>
                        <a:pt x="0" y="89"/>
                        <a:pt x="0" y="199"/>
                      </a:cubicBezTo>
                      <a:cubicBezTo>
                        <a:pt x="0" y="309"/>
                        <a:pt x="90" y="399"/>
                        <a:pt x="200" y="399"/>
                      </a:cubicBezTo>
                      <a:cubicBezTo>
                        <a:pt x="310" y="399"/>
                        <a:pt x="399" y="309"/>
                        <a:pt x="399" y="199"/>
                      </a:cubicBezTo>
                      <a:cubicBezTo>
                        <a:pt x="399" y="89"/>
                        <a:pt x="310" y="0"/>
                        <a:pt x="200" y="0"/>
                      </a:cubicBezTo>
                      <a:close/>
                      <a:moveTo>
                        <a:pt x="200" y="387"/>
                      </a:moveTo>
                      <a:cubicBezTo>
                        <a:pt x="96" y="387"/>
                        <a:pt x="12" y="303"/>
                        <a:pt x="12" y="199"/>
                      </a:cubicBezTo>
                      <a:cubicBezTo>
                        <a:pt x="12" y="96"/>
                        <a:pt x="96" y="12"/>
                        <a:pt x="200" y="12"/>
                      </a:cubicBezTo>
                      <a:cubicBezTo>
                        <a:pt x="303" y="12"/>
                        <a:pt x="387" y="96"/>
                        <a:pt x="387" y="199"/>
                      </a:cubicBezTo>
                      <a:cubicBezTo>
                        <a:pt x="387" y="303"/>
                        <a:pt x="303" y="387"/>
                        <a:pt x="200" y="3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0" name="Freeform 165"/>
                <p:cNvSpPr>
                  <a:spLocks/>
                </p:cNvSpPr>
                <p:nvPr/>
              </p:nvSpPr>
              <p:spPr bwMode="auto">
                <a:xfrm>
                  <a:off x="8756650" y="536575"/>
                  <a:ext cx="26988" cy="49213"/>
                </a:xfrm>
                <a:custGeom>
                  <a:avLst/>
                  <a:gdLst>
                    <a:gd name="T0" fmla="*/ 0 w 12"/>
                    <a:gd name="T1" fmla="*/ 5 h 22"/>
                    <a:gd name="T2" fmla="*/ 10 w 12"/>
                    <a:gd name="T3" fmla="*/ 20 h 22"/>
                    <a:gd name="T4" fmla="*/ 11 w 12"/>
                    <a:gd name="T5" fmla="*/ 22 h 22"/>
                    <a:gd name="T6" fmla="*/ 12 w 12"/>
                    <a:gd name="T7" fmla="*/ 9 h 22"/>
                    <a:gd name="T8" fmla="*/ 7 w 12"/>
                    <a:gd name="T9" fmla="*/ 0 h 22"/>
                    <a:gd name="T10" fmla="*/ 0 w 12"/>
                    <a:gd name="T11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2">
                      <a:moveTo>
                        <a:pt x="0" y="5"/>
                      </a:moveTo>
                      <a:cubicBezTo>
                        <a:pt x="3" y="9"/>
                        <a:pt x="7" y="14"/>
                        <a:pt x="10" y="20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2" y="18"/>
                        <a:pt x="12" y="13"/>
                        <a:pt x="12" y="9"/>
                      </a:cubicBezTo>
                      <a:cubicBezTo>
                        <a:pt x="10" y="6"/>
                        <a:pt x="9" y="3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1" name="Freeform 166"/>
                <p:cNvSpPr>
                  <a:spLocks/>
                </p:cNvSpPr>
                <p:nvPr/>
              </p:nvSpPr>
              <p:spPr bwMode="auto">
                <a:xfrm>
                  <a:off x="8488363" y="327025"/>
                  <a:ext cx="195263" cy="120650"/>
                </a:xfrm>
                <a:custGeom>
                  <a:avLst/>
                  <a:gdLst>
                    <a:gd name="T0" fmla="*/ 80 w 86"/>
                    <a:gd name="T1" fmla="*/ 53 h 53"/>
                    <a:gd name="T2" fmla="*/ 86 w 86"/>
                    <a:gd name="T3" fmla="*/ 47 h 53"/>
                    <a:gd name="T4" fmla="*/ 13 w 86"/>
                    <a:gd name="T5" fmla="*/ 0 h 53"/>
                    <a:gd name="T6" fmla="*/ 0 w 86"/>
                    <a:gd name="T7" fmla="*/ 3 h 53"/>
                    <a:gd name="T8" fmla="*/ 80 w 86"/>
                    <a:gd name="T9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53">
                      <a:moveTo>
                        <a:pt x="80" y="53"/>
                      </a:moveTo>
                      <a:cubicBezTo>
                        <a:pt x="86" y="47"/>
                        <a:pt x="86" y="47"/>
                        <a:pt x="86" y="47"/>
                      </a:cubicBezTo>
                      <a:cubicBezTo>
                        <a:pt x="66" y="28"/>
                        <a:pt x="40" y="12"/>
                        <a:pt x="13" y="0"/>
                      </a:cubicBezTo>
                      <a:cubicBezTo>
                        <a:pt x="9" y="0"/>
                        <a:pt x="4" y="2"/>
                        <a:pt x="0" y="3"/>
                      </a:cubicBezTo>
                      <a:cubicBezTo>
                        <a:pt x="30" y="14"/>
                        <a:pt x="58" y="32"/>
                        <a:pt x="80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2" name="Freeform 167"/>
                <p:cNvSpPr>
                  <a:spLocks/>
                </p:cNvSpPr>
                <p:nvPr/>
              </p:nvSpPr>
              <p:spPr bwMode="auto">
                <a:xfrm>
                  <a:off x="8383588" y="285750"/>
                  <a:ext cx="104775" cy="36513"/>
                </a:xfrm>
                <a:custGeom>
                  <a:avLst/>
                  <a:gdLst>
                    <a:gd name="T0" fmla="*/ 1 w 46"/>
                    <a:gd name="T1" fmla="*/ 0 h 16"/>
                    <a:gd name="T2" fmla="*/ 0 w 46"/>
                    <a:gd name="T3" fmla="*/ 7 h 16"/>
                    <a:gd name="T4" fmla="*/ 33 w 46"/>
                    <a:gd name="T5" fmla="*/ 16 h 16"/>
                    <a:gd name="T6" fmla="*/ 46 w 46"/>
                    <a:gd name="T7" fmla="*/ 12 h 16"/>
                    <a:gd name="T8" fmla="*/ 1 w 46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16">
                      <a:moveTo>
                        <a:pt x="1" y="0"/>
                      </a:move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1" y="9"/>
                        <a:pt x="22" y="12"/>
                        <a:pt x="33" y="16"/>
                      </a:cubicBezTo>
                      <a:cubicBezTo>
                        <a:pt x="37" y="15"/>
                        <a:pt x="42" y="13"/>
                        <a:pt x="46" y="12"/>
                      </a:cubicBezTo>
                      <a:cubicBezTo>
                        <a:pt x="32" y="7"/>
                        <a:pt x="16" y="2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3" name="Freeform 168"/>
                <p:cNvSpPr>
                  <a:spLocks/>
                </p:cNvSpPr>
                <p:nvPr/>
              </p:nvSpPr>
              <p:spPr bwMode="auto">
                <a:xfrm>
                  <a:off x="8080375" y="269875"/>
                  <a:ext cx="165100" cy="38100"/>
                </a:xfrm>
                <a:custGeom>
                  <a:avLst/>
                  <a:gdLst>
                    <a:gd name="T0" fmla="*/ 73 w 73"/>
                    <a:gd name="T1" fmla="*/ 0 h 17"/>
                    <a:gd name="T2" fmla="*/ 8 w 73"/>
                    <a:gd name="T3" fmla="*/ 7 h 17"/>
                    <a:gd name="T4" fmla="*/ 0 w 73"/>
                    <a:gd name="T5" fmla="*/ 17 h 17"/>
                    <a:gd name="T6" fmla="*/ 73 w 73"/>
                    <a:gd name="T7" fmla="*/ 8 h 17"/>
                    <a:gd name="T8" fmla="*/ 73 w 73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17">
                      <a:moveTo>
                        <a:pt x="73" y="0"/>
                      </a:moveTo>
                      <a:cubicBezTo>
                        <a:pt x="49" y="0"/>
                        <a:pt x="27" y="2"/>
                        <a:pt x="8" y="7"/>
                      </a:cubicBezTo>
                      <a:cubicBezTo>
                        <a:pt x="5" y="10"/>
                        <a:pt x="3" y="13"/>
                        <a:pt x="0" y="17"/>
                      </a:cubicBezTo>
                      <a:cubicBezTo>
                        <a:pt x="22" y="11"/>
                        <a:pt x="45" y="8"/>
                        <a:pt x="73" y="8"/>
                      </a:cubicBezTo>
                      <a:lnTo>
                        <a:pt x="7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4" name="Freeform 169"/>
                <p:cNvSpPr>
                  <a:spLocks/>
                </p:cNvSpPr>
                <p:nvPr/>
              </p:nvSpPr>
              <p:spPr bwMode="auto">
                <a:xfrm>
                  <a:off x="8343900" y="144463"/>
                  <a:ext cx="76200" cy="85725"/>
                </a:xfrm>
                <a:custGeom>
                  <a:avLst/>
                  <a:gdLst>
                    <a:gd name="T0" fmla="*/ 7 w 33"/>
                    <a:gd name="T1" fmla="*/ 38 h 38"/>
                    <a:gd name="T2" fmla="*/ 33 w 33"/>
                    <a:gd name="T3" fmla="*/ 1 h 38"/>
                    <a:gd name="T4" fmla="*/ 23 w 33"/>
                    <a:gd name="T5" fmla="*/ 0 h 38"/>
                    <a:gd name="T6" fmla="*/ 0 w 33"/>
                    <a:gd name="T7" fmla="*/ 34 h 38"/>
                    <a:gd name="T8" fmla="*/ 7 w 33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38">
                      <a:moveTo>
                        <a:pt x="7" y="38"/>
                      </a:moveTo>
                      <a:cubicBezTo>
                        <a:pt x="14" y="26"/>
                        <a:pt x="23" y="13"/>
                        <a:pt x="33" y="1"/>
                      </a:cubicBezTo>
                      <a:cubicBezTo>
                        <a:pt x="30" y="1"/>
                        <a:pt x="27" y="0"/>
                        <a:pt x="23" y="0"/>
                      </a:cubicBezTo>
                      <a:cubicBezTo>
                        <a:pt x="14" y="11"/>
                        <a:pt x="7" y="23"/>
                        <a:pt x="0" y="34"/>
                      </a:cubicBezTo>
                      <a:lnTo>
                        <a:pt x="7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5" name="Freeform 170"/>
                <p:cNvSpPr>
                  <a:spLocks/>
                </p:cNvSpPr>
                <p:nvPr/>
              </p:nvSpPr>
              <p:spPr bwMode="auto">
                <a:xfrm>
                  <a:off x="8250238" y="423863"/>
                  <a:ext cx="31750" cy="134938"/>
                </a:xfrm>
                <a:custGeom>
                  <a:avLst/>
                  <a:gdLst>
                    <a:gd name="T0" fmla="*/ 0 w 14"/>
                    <a:gd name="T1" fmla="*/ 57 h 59"/>
                    <a:gd name="T2" fmla="*/ 0 w 14"/>
                    <a:gd name="T3" fmla="*/ 57 h 59"/>
                    <a:gd name="T4" fmla="*/ 8 w 14"/>
                    <a:gd name="T5" fmla="*/ 59 h 59"/>
                    <a:gd name="T6" fmla="*/ 8 w 14"/>
                    <a:gd name="T7" fmla="*/ 57 h 59"/>
                    <a:gd name="T8" fmla="*/ 14 w 14"/>
                    <a:gd name="T9" fmla="*/ 0 h 59"/>
                    <a:gd name="T10" fmla="*/ 5 w 14"/>
                    <a:gd name="T11" fmla="*/ 6 h 59"/>
                    <a:gd name="T12" fmla="*/ 0 w 14"/>
                    <a:gd name="T13" fmla="*/ 57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59">
                      <a:moveTo>
                        <a:pt x="0" y="57"/>
                      </a:moveTo>
                      <a:cubicBezTo>
                        <a:pt x="0" y="57"/>
                        <a:pt x="0" y="57"/>
                        <a:pt x="0" y="57"/>
                      </a:cubicBezTo>
                      <a:cubicBezTo>
                        <a:pt x="3" y="58"/>
                        <a:pt x="6" y="58"/>
                        <a:pt x="8" y="59"/>
                      </a:cubicBezTo>
                      <a:cubicBezTo>
                        <a:pt x="8" y="58"/>
                        <a:pt x="8" y="57"/>
                        <a:pt x="8" y="57"/>
                      </a:cubicBezTo>
                      <a:cubicBezTo>
                        <a:pt x="8" y="37"/>
                        <a:pt x="10" y="18"/>
                        <a:pt x="14" y="0"/>
                      </a:cubicBezTo>
                      <a:cubicBezTo>
                        <a:pt x="11" y="2"/>
                        <a:pt x="8" y="4"/>
                        <a:pt x="5" y="6"/>
                      </a:cubicBezTo>
                      <a:cubicBezTo>
                        <a:pt x="2" y="23"/>
                        <a:pt x="0" y="40"/>
                        <a:pt x="0" y="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6" name="Freeform 171"/>
                <p:cNvSpPr>
                  <a:spLocks/>
                </p:cNvSpPr>
                <p:nvPr/>
              </p:nvSpPr>
              <p:spPr bwMode="auto">
                <a:xfrm>
                  <a:off x="8250238" y="573088"/>
                  <a:ext cx="31750" cy="117475"/>
                </a:xfrm>
                <a:custGeom>
                  <a:avLst/>
                  <a:gdLst>
                    <a:gd name="T0" fmla="*/ 7 w 14"/>
                    <a:gd name="T1" fmla="*/ 52 h 52"/>
                    <a:gd name="T2" fmla="*/ 14 w 14"/>
                    <a:gd name="T3" fmla="*/ 50 h 52"/>
                    <a:gd name="T4" fmla="*/ 8 w 14"/>
                    <a:gd name="T5" fmla="*/ 2 h 52"/>
                    <a:gd name="T6" fmla="*/ 0 w 14"/>
                    <a:gd name="T7" fmla="*/ 0 h 52"/>
                    <a:gd name="T8" fmla="*/ 7 w 14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52">
                      <a:moveTo>
                        <a:pt x="7" y="52"/>
                      </a:move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1" y="33"/>
                        <a:pt x="9" y="18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1" y="17"/>
                        <a:pt x="3" y="34"/>
                        <a:pt x="7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7" name="Freeform 172"/>
                <p:cNvSpPr>
                  <a:spLocks/>
                </p:cNvSpPr>
                <p:nvPr/>
              </p:nvSpPr>
              <p:spPr bwMode="auto">
                <a:xfrm>
                  <a:off x="8266113" y="344488"/>
                  <a:ext cx="36513" cy="68263"/>
                </a:xfrm>
                <a:custGeom>
                  <a:avLst/>
                  <a:gdLst>
                    <a:gd name="T0" fmla="*/ 16 w 16"/>
                    <a:gd name="T1" fmla="*/ 2 h 30"/>
                    <a:gd name="T2" fmla="*/ 8 w 16"/>
                    <a:gd name="T3" fmla="*/ 0 h 30"/>
                    <a:gd name="T4" fmla="*/ 0 w 16"/>
                    <a:gd name="T5" fmla="*/ 30 h 30"/>
                    <a:gd name="T6" fmla="*/ 10 w 16"/>
                    <a:gd name="T7" fmla="*/ 23 h 30"/>
                    <a:gd name="T8" fmla="*/ 16 w 16"/>
                    <a:gd name="T9" fmla="*/ 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30">
                      <a:moveTo>
                        <a:pt x="16" y="2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5" y="10"/>
                        <a:pt x="2" y="20"/>
                        <a:pt x="0" y="30"/>
                      </a:cubicBezTo>
                      <a:cubicBezTo>
                        <a:pt x="3" y="28"/>
                        <a:pt x="6" y="25"/>
                        <a:pt x="10" y="23"/>
                      </a:cubicBezTo>
                      <a:cubicBezTo>
                        <a:pt x="11" y="16"/>
                        <a:pt x="13" y="9"/>
                        <a:pt x="16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8" name="Freeform 173"/>
                <p:cNvSpPr>
                  <a:spLocks/>
                </p:cNvSpPr>
                <p:nvPr/>
              </p:nvSpPr>
              <p:spPr bwMode="auto">
                <a:xfrm>
                  <a:off x="8310563" y="812800"/>
                  <a:ext cx="79375" cy="111125"/>
                </a:xfrm>
                <a:custGeom>
                  <a:avLst/>
                  <a:gdLst>
                    <a:gd name="T0" fmla="*/ 0 w 35"/>
                    <a:gd name="T1" fmla="*/ 4 h 49"/>
                    <a:gd name="T2" fmla="*/ 25 w 35"/>
                    <a:gd name="T3" fmla="*/ 49 h 49"/>
                    <a:gd name="T4" fmla="*/ 35 w 35"/>
                    <a:gd name="T5" fmla="*/ 49 h 49"/>
                    <a:gd name="T6" fmla="*/ 7 w 35"/>
                    <a:gd name="T7" fmla="*/ 0 h 49"/>
                    <a:gd name="T8" fmla="*/ 0 w 35"/>
                    <a:gd name="T9" fmla="*/ 4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49">
                      <a:moveTo>
                        <a:pt x="0" y="4"/>
                      </a:moveTo>
                      <a:cubicBezTo>
                        <a:pt x="7" y="19"/>
                        <a:pt x="15" y="34"/>
                        <a:pt x="25" y="49"/>
                      </a:cubicBezTo>
                      <a:cubicBezTo>
                        <a:pt x="29" y="49"/>
                        <a:pt x="32" y="49"/>
                        <a:pt x="35" y="49"/>
                      </a:cubicBezTo>
                      <a:cubicBezTo>
                        <a:pt x="24" y="33"/>
                        <a:pt x="15" y="17"/>
                        <a:pt x="7" y="0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19" name="Freeform 174"/>
                <p:cNvSpPr>
                  <a:spLocks/>
                </p:cNvSpPr>
                <p:nvPr/>
              </p:nvSpPr>
              <p:spPr bwMode="auto">
                <a:xfrm>
                  <a:off x="8075613" y="673100"/>
                  <a:ext cx="157163" cy="77788"/>
                </a:xfrm>
                <a:custGeom>
                  <a:avLst/>
                  <a:gdLst>
                    <a:gd name="T0" fmla="*/ 68 w 69"/>
                    <a:gd name="T1" fmla="*/ 34 h 34"/>
                    <a:gd name="T2" fmla="*/ 69 w 69"/>
                    <a:gd name="T3" fmla="*/ 26 h 34"/>
                    <a:gd name="T4" fmla="*/ 3 w 69"/>
                    <a:gd name="T5" fmla="*/ 0 h 34"/>
                    <a:gd name="T6" fmla="*/ 0 w 69"/>
                    <a:gd name="T7" fmla="*/ 8 h 34"/>
                    <a:gd name="T8" fmla="*/ 68 w 69"/>
                    <a:gd name="T9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34">
                      <a:moveTo>
                        <a:pt x="68" y="34"/>
                      </a:moveTo>
                      <a:cubicBezTo>
                        <a:pt x="69" y="26"/>
                        <a:pt x="69" y="26"/>
                        <a:pt x="69" y="26"/>
                      </a:cubicBezTo>
                      <a:cubicBezTo>
                        <a:pt x="52" y="24"/>
                        <a:pt x="26" y="13"/>
                        <a:pt x="3" y="0"/>
                      </a:cubicBezTo>
                      <a:cubicBezTo>
                        <a:pt x="1" y="3"/>
                        <a:pt x="1" y="5"/>
                        <a:pt x="0" y="8"/>
                      </a:cubicBezTo>
                      <a:cubicBezTo>
                        <a:pt x="23" y="21"/>
                        <a:pt x="51" y="31"/>
                        <a:pt x="6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0" name="Freeform 175"/>
                <p:cNvSpPr>
                  <a:spLocks/>
                </p:cNvSpPr>
                <p:nvPr/>
              </p:nvSpPr>
              <p:spPr bwMode="auto">
                <a:xfrm>
                  <a:off x="8018463" y="630238"/>
                  <a:ext cx="47625" cy="49213"/>
                </a:xfrm>
                <a:custGeom>
                  <a:avLst/>
                  <a:gdLst>
                    <a:gd name="T0" fmla="*/ 21 w 21"/>
                    <a:gd name="T1" fmla="*/ 15 h 22"/>
                    <a:gd name="T2" fmla="*/ 0 w 21"/>
                    <a:gd name="T3" fmla="*/ 0 h 22"/>
                    <a:gd name="T4" fmla="*/ 4 w 21"/>
                    <a:gd name="T5" fmla="*/ 14 h 22"/>
                    <a:gd name="T6" fmla="*/ 18 w 21"/>
                    <a:gd name="T7" fmla="*/ 22 h 22"/>
                    <a:gd name="T8" fmla="*/ 21 w 21"/>
                    <a:gd name="T9" fmla="*/ 1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22">
                      <a:moveTo>
                        <a:pt x="21" y="15"/>
                      </a:moveTo>
                      <a:cubicBezTo>
                        <a:pt x="13" y="10"/>
                        <a:pt x="6" y="5"/>
                        <a:pt x="0" y="0"/>
                      </a:cubicBezTo>
                      <a:cubicBezTo>
                        <a:pt x="1" y="5"/>
                        <a:pt x="3" y="9"/>
                        <a:pt x="4" y="14"/>
                      </a:cubicBezTo>
                      <a:cubicBezTo>
                        <a:pt x="8" y="17"/>
                        <a:pt x="13" y="20"/>
                        <a:pt x="18" y="22"/>
                      </a:cubicBezTo>
                      <a:cubicBezTo>
                        <a:pt x="18" y="20"/>
                        <a:pt x="19" y="18"/>
                        <a:pt x="2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1" name="Freeform 176"/>
                <p:cNvSpPr>
                  <a:spLocks/>
                </p:cNvSpPr>
                <p:nvPr/>
              </p:nvSpPr>
              <p:spPr bwMode="auto">
                <a:xfrm>
                  <a:off x="8359775" y="722313"/>
                  <a:ext cx="92075" cy="36513"/>
                </a:xfrm>
                <a:custGeom>
                  <a:avLst/>
                  <a:gdLst>
                    <a:gd name="T0" fmla="*/ 0 w 40"/>
                    <a:gd name="T1" fmla="*/ 8 h 16"/>
                    <a:gd name="T2" fmla="*/ 0 w 40"/>
                    <a:gd name="T3" fmla="*/ 16 h 16"/>
                    <a:gd name="T4" fmla="*/ 40 w 40"/>
                    <a:gd name="T5" fmla="*/ 7 h 16"/>
                    <a:gd name="T6" fmla="*/ 38 w 40"/>
                    <a:gd name="T7" fmla="*/ 0 h 16"/>
                    <a:gd name="T8" fmla="*/ 0 w 40"/>
                    <a:gd name="T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16">
                      <a:moveTo>
                        <a:pt x="0" y="8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15" y="15"/>
                        <a:pt x="28" y="11"/>
                        <a:pt x="40" y="7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26" y="4"/>
                        <a:pt x="14" y="7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2" name="Freeform 177"/>
                <p:cNvSpPr>
                  <a:spLocks/>
                </p:cNvSpPr>
                <p:nvPr/>
              </p:nvSpPr>
              <p:spPr bwMode="auto">
                <a:xfrm>
                  <a:off x="8558213" y="547688"/>
                  <a:ext cx="128588" cy="130175"/>
                </a:xfrm>
                <a:custGeom>
                  <a:avLst/>
                  <a:gdLst>
                    <a:gd name="T0" fmla="*/ 0 w 56"/>
                    <a:gd name="T1" fmla="*/ 50 h 57"/>
                    <a:gd name="T2" fmla="*/ 5 w 56"/>
                    <a:gd name="T3" fmla="*/ 57 h 57"/>
                    <a:gd name="T4" fmla="*/ 56 w 56"/>
                    <a:gd name="T5" fmla="*/ 5 h 57"/>
                    <a:gd name="T6" fmla="*/ 49 w 56"/>
                    <a:gd name="T7" fmla="*/ 0 h 57"/>
                    <a:gd name="T8" fmla="*/ 0 w 56"/>
                    <a:gd name="T9" fmla="*/ 5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57">
                      <a:moveTo>
                        <a:pt x="0" y="50"/>
                      </a:move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19" y="46"/>
                        <a:pt x="41" y="26"/>
                        <a:pt x="56" y="5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35" y="21"/>
                        <a:pt x="14" y="40"/>
                        <a:pt x="0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3" name="Freeform 178"/>
                <p:cNvSpPr>
                  <a:spLocks/>
                </p:cNvSpPr>
                <p:nvPr/>
              </p:nvSpPr>
              <p:spPr bwMode="auto">
                <a:xfrm>
                  <a:off x="8739188" y="400050"/>
                  <a:ext cx="31750" cy="52388"/>
                </a:xfrm>
                <a:custGeom>
                  <a:avLst/>
                  <a:gdLst>
                    <a:gd name="T0" fmla="*/ 7 w 14"/>
                    <a:gd name="T1" fmla="*/ 23 h 23"/>
                    <a:gd name="T2" fmla="*/ 14 w 14"/>
                    <a:gd name="T3" fmla="*/ 11 h 23"/>
                    <a:gd name="T4" fmla="*/ 10 w 14"/>
                    <a:gd name="T5" fmla="*/ 0 h 23"/>
                    <a:gd name="T6" fmla="*/ 0 w 14"/>
                    <a:gd name="T7" fmla="*/ 19 h 23"/>
                    <a:gd name="T8" fmla="*/ 7 w 14"/>
                    <a:gd name="T9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3">
                      <a:moveTo>
                        <a:pt x="7" y="23"/>
                      </a:moveTo>
                      <a:cubicBezTo>
                        <a:pt x="10" y="18"/>
                        <a:pt x="12" y="14"/>
                        <a:pt x="14" y="11"/>
                      </a:cubicBezTo>
                      <a:cubicBezTo>
                        <a:pt x="12" y="7"/>
                        <a:pt x="11" y="3"/>
                        <a:pt x="10" y="0"/>
                      </a:cubicBezTo>
                      <a:cubicBezTo>
                        <a:pt x="8" y="3"/>
                        <a:pt x="5" y="9"/>
                        <a:pt x="0" y="19"/>
                      </a:cubicBezTo>
                      <a:lnTo>
                        <a:pt x="7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4" name="Freeform 179"/>
                <p:cNvSpPr>
                  <a:spLocks/>
                </p:cNvSpPr>
                <p:nvPr/>
              </p:nvSpPr>
              <p:spPr bwMode="auto">
                <a:xfrm>
                  <a:off x="8545513" y="750888"/>
                  <a:ext cx="76200" cy="111125"/>
                </a:xfrm>
                <a:custGeom>
                  <a:avLst/>
                  <a:gdLst>
                    <a:gd name="T0" fmla="*/ 0 w 34"/>
                    <a:gd name="T1" fmla="*/ 5 h 49"/>
                    <a:gd name="T2" fmla="*/ 27 w 34"/>
                    <a:gd name="T3" fmla="*/ 49 h 49"/>
                    <a:gd name="T4" fmla="*/ 34 w 34"/>
                    <a:gd name="T5" fmla="*/ 44 h 49"/>
                    <a:gd name="T6" fmla="*/ 7 w 34"/>
                    <a:gd name="T7" fmla="*/ 0 h 49"/>
                    <a:gd name="T8" fmla="*/ 0 w 34"/>
                    <a:gd name="T9" fmla="*/ 5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49">
                      <a:moveTo>
                        <a:pt x="0" y="5"/>
                      </a:moveTo>
                      <a:cubicBezTo>
                        <a:pt x="11" y="19"/>
                        <a:pt x="20" y="34"/>
                        <a:pt x="27" y="49"/>
                      </a:cubicBezTo>
                      <a:cubicBezTo>
                        <a:pt x="30" y="47"/>
                        <a:pt x="32" y="46"/>
                        <a:pt x="34" y="44"/>
                      </a:cubicBezTo>
                      <a:cubicBezTo>
                        <a:pt x="27" y="29"/>
                        <a:pt x="17" y="14"/>
                        <a:pt x="7" y="0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5" name="Freeform 180"/>
                <p:cNvSpPr>
                  <a:spLocks/>
                </p:cNvSpPr>
                <p:nvPr/>
              </p:nvSpPr>
              <p:spPr bwMode="auto">
                <a:xfrm>
                  <a:off x="8197850" y="544513"/>
                  <a:ext cx="52388" cy="28575"/>
                </a:xfrm>
                <a:custGeom>
                  <a:avLst/>
                  <a:gdLst>
                    <a:gd name="T0" fmla="*/ 1 w 23"/>
                    <a:gd name="T1" fmla="*/ 0 h 12"/>
                    <a:gd name="T2" fmla="*/ 0 w 23"/>
                    <a:gd name="T3" fmla="*/ 8 h 12"/>
                    <a:gd name="T4" fmla="*/ 23 w 23"/>
                    <a:gd name="T5" fmla="*/ 12 h 12"/>
                    <a:gd name="T6" fmla="*/ 23 w 23"/>
                    <a:gd name="T7" fmla="*/ 4 h 12"/>
                    <a:gd name="T8" fmla="*/ 1 w 2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12">
                      <a:moveTo>
                        <a:pt x="1" y="0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9"/>
                        <a:pt x="16" y="10"/>
                        <a:pt x="23" y="12"/>
                      </a:cubicBezTo>
                      <a:cubicBezTo>
                        <a:pt x="23" y="9"/>
                        <a:pt x="23" y="7"/>
                        <a:pt x="23" y="4"/>
                      </a:cubicBezTo>
                      <a:cubicBezTo>
                        <a:pt x="16" y="2"/>
                        <a:pt x="8" y="1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6" name="Freeform 181"/>
                <p:cNvSpPr>
                  <a:spLocks/>
                </p:cNvSpPr>
                <p:nvPr/>
              </p:nvSpPr>
              <p:spPr bwMode="auto">
                <a:xfrm>
                  <a:off x="8269288" y="558800"/>
                  <a:ext cx="195263" cy="109538"/>
                </a:xfrm>
                <a:custGeom>
                  <a:avLst/>
                  <a:gdLst>
                    <a:gd name="T0" fmla="*/ 81 w 86"/>
                    <a:gd name="T1" fmla="*/ 48 h 48"/>
                    <a:gd name="T2" fmla="*/ 86 w 86"/>
                    <a:gd name="T3" fmla="*/ 42 h 48"/>
                    <a:gd name="T4" fmla="*/ 0 w 86"/>
                    <a:gd name="T5" fmla="*/ 0 h 48"/>
                    <a:gd name="T6" fmla="*/ 0 w 86"/>
                    <a:gd name="T7" fmla="*/ 8 h 48"/>
                    <a:gd name="T8" fmla="*/ 81 w 8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48">
                      <a:moveTo>
                        <a:pt x="81" y="48"/>
                      </a:moveTo>
                      <a:cubicBezTo>
                        <a:pt x="86" y="42"/>
                        <a:pt x="86" y="42"/>
                        <a:pt x="86" y="42"/>
                      </a:cubicBezTo>
                      <a:cubicBezTo>
                        <a:pt x="61" y="22"/>
                        <a:pt x="31" y="8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ubicBezTo>
                        <a:pt x="30" y="16"/>
                        <a:pt x="57" y="30"/>
                        <a:pt x="81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7" name="Freeform 182"/>
                <p:cNvSpPr>
                  <a:spLocks/>
                </p:cNvSpPr>
                <p:nvPr/>
              </p:nvSpPr>
              <p:spPr bwMode="auto">
                <a:xfrm>
                  <a:off x="8250238" y="554038"/>
                  <a:ext cx="19050" cy="23813"/>
                </a:xfrm>
                <a:custGeom>
                  <a:avLst/>
                  <a:gdLst>
                    <a:gd name="T0" fmla="*/ 0 w 8"/>
                    <a:gd name="T1" fmla="*/ 8 h 10"/>
                    <a:gd name="T2" fmla="*/ 8 w 8"/>
                    <a:gd name="T3" fmla="*/ 10 h 10"/>
                    <a:gd name="T4" fmla="*/ 8 w 8"/>
                    <a:gd name="T5" fmla="*/ 2 h 10"/>
                    <a:gd name="T6" fmla="*/ 0 w 8"/>
                    <a:gd name="T7" fmla="*/ 0 h 10"/>
                    <a:gd name="T8" fmla="*/ 0 w 8"/>
                    <a:gd name="T9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0" y="8"/>
                      </a:moveTo>
                      <a:cubicBezTo>
                        <a:pt x="3" y="9"/>
                        <a:pt x="6" y="9"/>
                        <a:pt x="8" y="10"/>
                      </a:cubicBezTo>
                      <a:cubicBezTo>
                        <a:pt x="8" y="7"/>
                        <a:pt x="8" y="5"/>
                        <a:pt x="8" y="2"/>
                      </a:cubicBezTo>
                      <a:cubicBezTo>
                        <a:pt x="6" y="1"/>
                        <a:pt x="3" y="1"/>
                        <a:pt x="0" y="0"/>
                      </a:cubicBezTo>
                      <a:cubicBezTo>
                        <a:pt x="0" y="3"/>
                        <a:pt x="0" y="5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8" name="Freeform 183"/>
                <p:cNvSpPr>
                  <a:spLocks/>
                </p:cNvSpPr>
                <p:nvPr/>
              </p:nvSpPr>
              <p:spPr bwMode="auto">
                <a:xfrm>
                  <a:off x="8007350" y="544513"/>
                  <a:ext cx="63500" cy="30163"/>
                </a:xfrm>
                <a:custGeom>
                  <a:avLst/>
                  <a:gdLst>
                    <a:gd name="T0" fmla="*/ 27 w 28"/>
                    <a:gd name="T1" fmla="*/ 0 h 13"/>
                    <a:gd name="T2" fmla="*/ 0 w 28"/>
                    <a:gd name="T3" fmla="*/ 5 h 13"/>
                    <a:gd name="T4" fmla="*/ 1 w 28"/>
                    <a:gd name="T5" fmla="*/ 13 h 13"/>
                    <a:gd name="T6" fmla="*/ 28 w 28"/>
                    <a:gd name="T7" fmla="*/ 8 h 13"/>
                    <a:gd name="T8" fmla="*/ 27 w 28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13">
                      <a:moveTo>
                        <a:pt x="27" y="0"/>
                      </a:moveTo>
                      <a:cubicBezTo>
                        <a:pt x="17" y="2"/>
                        <a:pt x="8" y="3"/>
                        <a:pt x="0" y="5"/>
                      </a:cubicBezTo>
                      <a:cubicBezTo>
                        <a:pt x="0" y="8"/>
                        <a:pt x="1" y="10"/>
                        <a:pt x="1" y="13"/>
                      </a:cubicBezTo>
                      <a:cubicBezTo>
                        <a:pt x="9" y="11"/>
                        <a:pt x="18" y="9"/>
                        <a:pt x="28" y="8"/>
                      </a:cubicBez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29" name="Freeform 184"/>
                <p:cNvSpPr>
                  <a:spLocks/>
                </p:cNvSpPr>
                <p:nvPr/>
              </p:nvSpPr>
              <p:spPr bwMode="auto">
                <a:xfrm>
                  <a:off x="8488363" y="287338"/>
                  <a:ext cx="222250" cy="39688"/>
                </a:xfrm>
                <a:custGeom>
                  <a:avLst/>
                  <a:gdLst>
                    <a:gd name="T0" fmla="*/ 13 w 98"/>
                    <a:gd name="T1" fmla="*/ 17 h 17"/>
                    <a:gd name="T2" fmla="*/ 98 w 98"/>
                    <a:gd name="T3" fmla="*/ 8 h 17"/>
                    <a:gd name="T4" fmla="*/ 92 w 98"/>
                    <a:gd name="T5" fmla="*/ 0 h 17"/>
                    <a:gd name="T6" fmla="*/ 0 w 98"/>
                    <a:gd name="T7" fmla="*/ 11 h 17"/>
                    <a:gd name="T8" fmla="*/ 13 w 98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17">
                      <a:moveTo>
                        <a:pt x="13" y="17"/>
                      </a:moveTo>
                      <a:cubicBezTo>
                        <a:pt x="39" y="11"/>
                        <a:pt x="68" y="8"/>
                        <a:pt x="98" y="8"/>
                      </a:cubicBezTo>
                      <a:cubicBezTo>
                        <a:pt x="96" y="5"/>
                        <a:pt x="94" y="3"/>
                        <a:pt x="92" y="0"/>
                      </a:cubicBezTo>
                      <a:cubicBezTo>
                        <a:pt x="59" y="1"/>
                        <a:pt x="29" y="4"/>
                        <a:pt x="0" y="11"/>
                      </a:cubicBezTo>
                      <a:cubicBezTo>
                        <a:pt x="5" y="13"/>
                        <a:pt x="9" y="15"/>
                        <a:pt x="13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0" name="Freeform 185"/>
                <p:cNvSpPr>
                  <a:spLocks/>
                </p:cNvSpPr>
                <p:nvPr/>
              </p:nvSpPr>
              <p:spPr bwMode="auto">
                <a:xfrm>
                  <a:off x="8172450" y="412750"/>
                  <a:ext cx="93663" cy="95250"/>
                </a:xfrm>
                <a:custGeom>
                  <a:avLst/>
                  <a:gdLst>
                    <a:gd name="T0" fmla="*/ 0 w 41"/>
                    <a:gd name="T1" fmla="*/ 36 h 42"/>
                    <a:gd name="T2" fmla="*/ 6 w 41"/>
                    <a:gd name="T3" fmla="*/ 42 h 42"/>
                    <a:gd name="T4" fmla="*/ 39 w 41"/>
                    <a:gd name="T5" fmla="*/ 11 h 42"/>
                    <a:gd name="T6" fmla="*/ 41 w 41"/>
                    <a:gd name="T7" fmla="*/ 0 h 42"/>
                    <a:gd name="T8" fmla="*/ 0 w 41"/>
                    <a:gd name="T9" fmla="*/ 3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42">
                      <a:moveTo>
                        <a:pt x="0" y="36"/>
                      </a:moveTo>
                      <a:cubicBezTo>
                        <a:pt x="6" y="42"/>
                        <a:pt x="6" y="42"/>
                        <a:pt x="6" y="42"/>
                      </a:cubicBezTo>
                      <a:cubicBezTo>
                        <a:pt x="16" y="30"/>
                        <a:pt x="27" y="20"/>
                        <a:pt x="39" y="11"/>
                      </a:cubicBezTo>
                      <a:cubicBezTo>
                        <a:pt x="39" y="7"/>
                        <a:pt x="40" y="4"/>
                        <a:pt x="41" y="0"/>
                      </a:cubicBezTo>
                      <a:cubicBezTo>
                        <a:pt x="26" y="10"/>
                        <a:pt x="12" y="23"/>
                        <a:pt x="0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1" name="Freeform 186"/>
                <p:cNvSpPr>
                  <a:spLocks/>
                </p:cNvSpPr>
                <p:nvPr/>
              </p:nvSpPr>
              <p:spPr bwMode="auto">
                <a:xfrm>
                  <a:off x="8281988" y="322263"/>
                  <a:ext cx="206375" cy="101600"/>
                </a:xfrm>
                <a:custGeom>
                  <a:avLst/>
                  <a:gdLst>
                    <a:gd name="T0" fmla="*/ 3 w 90"/>
                    <a:gd name="T1" fmla="*/ 33 h 45"/>
                    <a:gd name="T2" fmla="*/ 0 w 90"/>
                    <a:gd name="T3" fmla="*/ 45 h 45"/>
                    <a:gd name="T4" fmla="*/ 90 w 90"/>
                    <a:gd name="T5" fmla="*/ 5 h 45"/>
                    <a:gd name="T6" fmla="*/ 77 w 90"/>
                    <a:gd name="T7" fmla="*/ 0 h 45"/>
                    <a:gd name="T8" fmla="*/ 3 w 90"/>
                    <a:gd name="T9" fmla="*/ 3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45">
                      <a:moveTo>
                        <a:pt x="3" y="33"/>
                      </a:moveTo>
                      <a:cubicBezTo>
                        <a:pt x="2" y="37"/>
                        <a:pt x="1" y="41"/>
                        <a:pt x="0" y="45"/>
                      </a:cubicBezTo>
                      <a:cubicBezTo>
                        <a:pt x="26" y="27"/>
                        <a:pt x="56" y="13"/>
                        <a:pt x="90" y="5"/>
                      </a:cubicBezTo>
                      <a:cubicBezTo>
                        <a:pt x="86" y="3"/>
                        <a:pt x="81" y="1"/>
                        <a:pt x="77" y="0"/>
                      </a:cubicBezTo>
                      <a:cubicBezTo>
                        <a:pt x="50" y="8"/>
                        <a:pt x="25" y="19"/>
                        <a:pt x="3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2" name="Freeform 187"/>
                <p:cNvSpPr>
                  <a:spLocks/>
                </p:cNvSpPr>
                <p:nvPr/>
              </p:nvSpPr>
              <p:spPr bwMode="auto">
                <a:xfrm>
                  <a:off x="8458200" y="312738"/>
                  <a:ext cx="58738" cy="20638"/>
                </a:xfrm>
                <a:custGeom>
                  <a:avLst/>
                  <a:gdLst>
                    <a:gd name="T0" fmla="*/ 0 w 26"/>
                    <a:gd name="T1" fmla="*/ 4 h 9"/>
                    <a:gd name="T2" fmla="*/ 13 w 26"/>
                    <a:gd name="T3" fmla="*/ 9 h 9"/>
                    <a:gd name="T4" fmla="*/ 26 w 26"/>
                    <a:gd name="T5" fmla="*/ 6 h 9"/>
                    <a:gd name="T6" fmla="*/ 13 w 26"/>
                    <a:gd name="T7" fmla="*/ 0 h 9"/>
                    <a:gd name="T8" fmla="*/ 0 w 26"/>
                    <a:gd name="T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9">
                      <a:moveTo>
                        <a:pt x="0" y="4"/>
                      </a:moveTo>
                      <a:cubicBezTo>
                        <a:pt x="4" y="5"/>
                        <a:pt x="9" y="7"/>
                        <a:pt x="13" y="9"/>
                      </a:cubicBezTo>
                      <a:cubicBezTo>
                        <a:pt x="17" y="8"/>
                        <a:pt x="22" y="6"/>
                        <a:pt x="26" y="6"/>
                      </a:cubicBezTo>
                      <a:cubicBezTo>
                        <a:pt x="22" y="4"/>
                        <a:pt x="18" y="2"/>
                        <a:pt x="13" y="0"/>
                      </a:cubicBezTo>
                      <a:cubicBezTo>
                        <a:pt x="9" y="1"/>
                        <a:pt x="4" y="3"/>
                        <a:pt x="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3" name="Freeform 188"/>
                <p:cNvSpPr>
                  <a:spLocks/>
                </p:cNvSpPr>
                <p:nvPr/>
              </p:nvSpPr>
              <p:spPr bwMode="auto">
                <a:xfrm>
                  <a:off x="8261350" y="396875"/>
                  <a:ext cx="28575" cy="41275"/>
                </a:xfrm>
                <a:custGeom>
                  <a:avLst/>
                  <a:gdLst>
                    <a:gd name="T0" fmla="*/ 2 w 12"/>
                    <a:gd name="T1" fmla="*/ 7 h 18"/>
                    <a:gd name="T2" fmla="*/ 0 w 12"/>
                    <a:gd name="T3" fmla="*/ 18 h 18"/>
                    <a:gd name="T4" fmla="*/ 9 w 12"/>
                    <a:gd name="T5" fmla="*/ 12 h 18"/>
                    <a:gd name="T6" fmla="*/ 12 w 12"/>
                    <a:gd name="T7" fmla="*/ 0 h 18"/>
                    <a:gd name="T8" fmla="*/ 2 w 12"/>
                    <a:gd name="T9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8">
                      <a:moveTo>
                        <a:pt x="2" y="7"/>
                      </a:moveTo>
                      <a:cubicBezTo>
                        <a:pt x="1" y="11"/>
                        <a:pt x="0" y="14"/>
                        <a:pt x="0" y="18"/>
                      </a:cubicBezTo>
                      <a:cubicBezTo>
                        <a:pt x="3" y="16"/>
                        <a:pt x="6" y="14"/>
                        <a:pt x="9" y="12"/>
                      </a:cubicBezTo>
                      <a:cubicBezTo>
                        <a:pt x="10" y="8"/>
                        <a:pt x="11" y="4"/>
                        <a:pt x="12" y="0"/>
                      </a:cubicBezTo>
                      <a:cubicBezTo>
                        <a:pt x="8" y="2"/>
                        <a:pt x="5" y="5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4" name="Freeform 189"/>
                <p:cNvSpPr>
                  <a:spLocks/>
                </p:cNvSpPr>
                <p:nvPr/>
              </p:nvSpPr>
              <p:spPr bwMode="auto">
                <a:xfrm>
                  <a:off x="8048625" y="679450"/>
                  <a:ext cx="26988" cy="55563"/>
                </a:xfrm>
                <a:custGeom>
                  <a:avLst/>
                  <a:gdLst>
                    <a:gd name="T0" fmla="*/ 12 w 12"/>
                    <a:gd name="T1" fmla="*/ 5 h 24"/>
                    <a:gd name="T2" fmla="*/ 5 w 12"/>
                    <a:gd name="T3" fmla="*/ 0 h 24"/>
                    <a:gd name="T4" fmla="*/ 0 w 12"/>
                    <a:gd name="T5" fmla="*/ 14 h 24"/>
                    <a:gd name="T6" fmla="*/ 6 w 12"/>
                    <a:gd name="T7" fmla="*/ 24 h 24"/>
                    <a:gd name="T8" fmla="*/ 6 w 12"/>
                    <a:gd name="T9" fmla="*/ 23 h 24"/>
                    <a:gd name="T10" fmla="*/ 12 w 12"/>
                    <a:gd name="T11" fmla="*/ 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4">
                      <a:moveTo>
                        <a:pt x="12" y="5"/>
                      </a:moveTo>
                      <a:cubicBezTo>
                        <a:pt x="9" y="3"/>
                        <a:pt x="7" y="2"/>
                        <a:pt x="5" y="0"/>
                      </a:cubicBezTo>
                      <a:cubicBezTo>
                        <a:pt x="3" y="5"/>
                        <a:pt x="2" y="10"/>
                        <a:pt x="0" y="14"/>
                      </a:cubicBezTo>
                      <a:cubicBezTo>
                        <a:pt x="2" y="17"/>
                        <a:pt x="4" y="20"/>
                        <a:pt x="6" y="24"/>
                      </a:cubicBezTo>
                      <a:cubicBezTo>
                        <a:pt x="6" y="24"/>
                        <a:pt x="6" y="24"/>
                        <a:pt x="6" y="23"/>
                      </a:cubicBezTo>
                      <a:cubicBezTo>
                        <a:pt x="7" y="19"/>
                        <a:pt x="9" y="12"/>
                        <a:pt x="12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5" name="Freeform 190"/>
                <p:cNvSpPr>
                  <a:spLocks/>
                </p:cNvSpPr>
                <p:nvPr/>
              </p:nvSpPr>
              <p:spPr bwMode="auto">
                <a:xfrm>
                  <a:off x="8066088" y="600075"/>
                  <a:ext cx="46038" cy="73025"/>
                </a:xfrm>
                <a:custGeom>
                  <a:avLst/>
                  <a:gdLst>
                    <a:gd name="T0" fmla="*/ 20 w 20"/>
                    <a:gd name="T1" fmla="*/ 4 h 32"/>
                    <a:gd name="T2" fmla="*/ 13 w 20"/>
                    <a:gd name="T3" fmla="*/ 0 h 32"/>
                    <a:gd name="T4" fmla="*/ 0 w 20"/>
                    <a:gd name="T5" fmla="*/ 28 h 32"/>
                    <a:gd name="T6" fmla="*/ 7 w 20"/>
                    <a:gd name="T7" fmla="*/ 32 h 32"/>
                    <a:gd name="T8" fmla="*/ 20 w 20"/>
                    <a:gd name="T9" fmla="*/ 4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32">
                      <a:moveTo>
                        <a:pt x="20" y="4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10"/>
                        <a:pt x="3" y="20"/>
                        <a:pt x="0" y="28"/>
                      </a:cubicBezTo>
                      <a:cubicBezTo>
                        <a:pt x="2" y="29"/>
                        <a:pt x="4" y="31"/>
                        <a:pt x="7" y="32"/>
                      </a:cubicBezTo>
                      <a:cubicBezTo>
                        <a:pt x="10" y="24"/>
                        <a:pt x="14" y="15"/>
                        <a:pt x="2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6" name="Freeform 191"/>
                <p:cNvSpPr>
                  <a:spLocks/>
                </p:cNvSpPr>
                <p:nvPr/>
              </p:nvSpPr>
              <p:spPr bwMode="auto">
                <a:xfrm>
                  <a:off x="8059738" y="663575"/>
                  <a:ext cx="22225" cy="26988"/>
                </a:xfrm>
                <a:custGeom>
                  <a:avLst/>
                  <a:gdLst>
                    <a:gd name="T0" fmla="*/ 7 w 10"/>
                    <a:gd name="T1" fmla="*/ 12 h 12"/>
                    <a:gd name="T2" fmla="*/ 10 w 10"/>
                    <a:gd name="T3" fmla="*/ 4 h 12"/>
                    <a:gd name="T4" fmla="*/ 3 w 10"/>
                    <a:gd name="T5" fmla="*/ 0 h 12"/>
                    <a:gd name="T6" fmla="*/ 0 w 10"/>
                    <a:gd name="T7" fmla="*/ 7 h 12"/>
                    <a:gd name="T8" fmla="*/ 7 w 10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2">
                      <a:moveTo>
                        <a:pt x="7" y="12"/>
                      </a:moveTo>
                      <a:cubicBezTo>
                        <a:pt x="8" y="9"/>
                        <a:pt x="8" y="7"/>
                        <a:pt x="10" y="4"/>
                      </a:cubicBezTo>
                      <a:cubicBezTo>
                        <a:pt x="7" y="3"/>
                        <a:pt x="5" y="1"/>
                        <a:pt x="3" y="0"/>
                      </a:cubicBezTo>
                      <a:cubicBezTo>
                        <a:pt x="1" y="3"/>
                        <a:pt x="0" y="5"/>
                        <a:pt x="0" y="7"/>
                      </a:cubicBezTo>
                      <a:cubicBezTo>
                        <a:pt x="2" y="9"/>
                        <a:pt x="4" y="10"/>
                        <a:pt x="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7" name="Oval 192"/>
                <p:cNvSpPr>
                  <a:spLocks noChangeArrowheads="1"/>
                </p:cNvSpPr>
                <p:nvPr/>
              </p:nvSpPr>
              <p:spPr bwMode="auto">
                <a:xfrm>
                  <a:off x="8278813" y="244475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8" name="Freeform 193"/>
                <p:cNvSpPr>
                  <a:spLocks/>
                </p:cNvSpPr>
                <p:nvPr/>
              </p:nvSpPr>
              <p:spPr bwMode="auto">
                <a:xfrm>
                  <a:off x="8669338" y="460375"/>
                  <a:ext cx="77788" cy="80963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7 h 35"/>
                    <a:gd name="T4" fmla="*/ 17 w 34"/>
                    <a:gd name="T5" fmla="*/ 35 h 35"/>
                    <a:gd name="T6" fmla="*/ 34 w 34"/>
                    <a:gd name="T7" fmla="*/ 17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7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7"/>
                      </a:cubicBezTo>
                      <a:cubicBezTo>
                        <a:pt x="34" y="8"/>
                        <a:pt x="27" y="1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39" name="Oval 194"/>
                <p:cNvSpPr>
                  <a:spLocks noChangeArrowheads="1"/>
                </p:cNvSpPr>
                <p:nvPr/>
              </p:nvSpPr>
              <p:spPr bwMode="auto">
                <a:xfrm>
                  <a:off x="8469313" y="666750"/>
                  <a:ext cx="79375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0" name="Freeform 195"/>
                <p:cNvSpPr>
                  <a:spLocks/>
                </p:cNvSpPr>
                <p:nvPr/>
              </p:nvSpPr>
              <p:spPr bwMode="auto">
                <a:xfrm>
                  <a:off x="8250238" y="719138"/>
                  <a:ext cx="77788" cy="79375"/>
                </a:xfrm>
                <a:custGeom>
                  <a:avLst/>
                  <a:gdLst>
                    <a:gd name="T0" fmla="*/ 17 w 34"/>
                    <a:gd name="T1" fmla="*/ 0 h 35"/>
                    <a:gd name="T2" fmla="*/ 0 w 34"/>
                    <a:gd name="T3" fmla="*/ 18 h 35"/>
                    <a:gd name="T4" fmla="*/ 17 w 34"/>
                    <a:gd name="T5" fmla="*/ 35 h 35"/>
                    <a:gd name="T6" fmla="*/ 34 w 34"/>
                    <a:gd name="T7" fmla="*/ 18 h 35"/>
                    <a:gd name="T8" fmla="*/ 17 w 34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5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4" y="27"/>
                        <a:pt x="34" y="18"/>
                      </a:cubicBezTo>
                      <a:cubicBezTo>
                        <a:pt x="34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1" name="Freeform 196"/>
                <p:cNvSpPr>
                  <a:spLocks/>
                </p:cNvSpPr>
                <p:nvPr/>
              </p:nvSpPr>
              <p:spPr bwMode="auto">
                <a:xfrm>
                  <a:off x="8096250" y="511175"/>
                  <a:ext cx="79375" cy="77788"/>
                </a:xfrm>
                <a:custGeom>
                  <a:avLst/>
                  <a:gdLst>
                    <a:gd name="T0" fmla="*/ 17 w 35"/>
                    <a:gd name="T1" fmla="*/ 0 h 34"/>
                    <a:gd name="T2" fmla="*/ 0 w 35"/>
                    <a:gd name="T3" fmla="*/ 17 h 34"/>
                    <a:gd name="T4" fmla="*/ 17 w 35"/>
                    <a:gd name="T5" fmla="*/ 34 h 34"/>
                    <a:gd name="T6" fmla="*/ 35 w 35"/>
                    <a:gd name="T7" fmla="*/ 17 h 34"/>
                    <a:gd name="T8" fmla="*/ 17 w 35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34">
                      <a:moveTo>
                        <a:pt x="17" y="0"/>
                      </a:move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7" y="34"/>
                        <a:pt x="35" y="27"/>
                        <a:pt x="35" y="17"/>
                      </a:cubicBezTo>
                      <a:cubicBezTo>
                        <a:pt x="35" y="8"/>
                        <a:pt x="27" y="0"/>
                        <a:pt x="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7" name="TextBox 326"/>
              <p:cNvSpPr txBox="1"/>
              <p:nvPr/>
            </p:nvSpPr>
            <p:spPr>
              <a:xfrm>
                <a:off x="2820306" y="3726430"/>
                <a:ext cx="262892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Hosting</a:t>
                </a:r>
              </a:p>
            </p:txBody>
          </p:sp>
        </p:grpSp>
      </p:grpSp>
      <p:grpSp>
        <p:nvGrpSpPr>
          <p:cNvPr id="339" name="Group 338"/>
          <p:cNvGrpSpPr/>
          <p:nvPr/>
        </p:nvGrpSpPr>
        <p:grpSpPr>
          <a:xfrm>
            <a:off x="4557011" y="3160239"/>
            <a:ext cx="512615" cy="512615"/>
            <a:chOff x="2069911" y="3049149"/>
            <a:chExt cx="502920" cy="502920"/>
          </a:xfrm>
        </p:grpSpPr>
        <p:sp>
          <p:nvSpPr>
            <p:cNvPr id="301" name="Oval 300"/>
            <p:cNvSpPr/>
            <p:nvPr/>
          </p:nvSpPr>
          <p:spPr>
            <a:xfrm>
              <a:off x="2069911" y="3049149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38" name="Group 337"/>
            <p:cNvGrpSpPr/>
            <p:nvPr/>
          </p:nvGrpSpPr>
          <p:grpSpPr>
            <a:xfrm>
              <a:off x="2145041" y="3116368"/>
              <a:ext cx="352661" cy="368483"/>
              <a:chOff x="2145041" y="3101415"/>
              <a:chExt cx="352661" cy="368483"/>
            </a:xfrm>
          </p:grpSpPr>
          <p:grpSp>
            <p:nvGrpSpPr>
              <p:cNvPr id="242" name="Group 241"/>
              <p:cNvGrpSpPr/>
              <p:nvPr/>
            </p:nvGrpSpPr>
            <p:grpSpPr>
              <a:xfrm>
                <a:off x="2266899" y="3101415"/>
                <a:ext cx="108944" cy="182424"/>
                <a:chOff x="-836613" y="2747963"/>
                <a:chExt cx="541338" cy="906463"/>
              </a:xfrm>
              <a:solidFill>
                <a:schemeClr val="tx2"/>
              </a:solidFill>
            </p:grpSpPr>
            <p:sp>
              <p:nvSpPr>
                <p:cNvPr id="243" name="Rectangle 301"/>
                <p:cNvSpPr>
                  <a:spLocks noChangeArrowheads="1"/>
                </p:cNvSpPr>
                <p:nvPr/>
              </p:nvSpPr>
              <p:spPr bwMode="auto">
                <a:xfrm>
                  <a:off x="-614363" y="3522663"/>
                  <a:ext cx="100013" cy="28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4" name="Freeform 302"/>
                <p:cNvSpPr>
                  <a:spLocks noEditPoints="1"/>
                </p:cNvSpPr>
                <p:nvPr/>
              </p:nvSpPr>
              <p:spPr bwMode="auto">
                <a:xfrm>
                  <a:off x="-836613" y="2747963"/>
                  <a:ext cx="541338" cy="906463"/>
                </a:xfrm>
                <a:custGeom>
                  <a:avLst/>
                  <a:gdLst>
                    <a:gd name="T0" fmla="*/ 217 w 238"/>
                    <a:gd name="T1" fmla="*/ 400 h 400"/>
                    <a:gd name="T2" fmla="*/ 23 w 238"/>
                    <a:gd name="T3" fmla="*/ 400 h 400"/>
                    <a:gd name="T4" fmla="*/ 0 w 238"/>
                    <a:gd name="T5" fmla="*/ 379 h 400"/>
                    <a:gd name="T6" fmla="*/ 0 w 238"/>
                    <a:gd name="T7" fmla="*/ 379 h 400"/>
                    <a:gd name="T8" fmla="*/ 0 w 238"/>
                    <a:gd name="T9" fmla="*/ 296 h 400"/>
                    <a:gd name="T10" fmla="*/ 0 w 238"/>
                    <a:gd name="T11" fmla="*/ 290 h 400"/>
                    <a:gd name="T12" fmla="*/ 226 w 238"/>
                    <a:gd name="T13" fmla="*/ 290 h 400"/>
                    <a:gd name="T14" fmla="*/ 226 w 238"/>
                    <a:gd name="T15" fmla="*/ 18 h 400"/>
                    <a:gd name="T16" fmla="*/ 219 w 238"/>
                    <a:gd name="T17" fmla="*/ 12 h 400"/>
                    <a:gd name="T18" fmla="*/ 21 w 238"/>
                    <a:gd name="T19" fmla="*/ 12 h 400"/>
                    <a:gd name="T20" fmla="*/ 14 w 238"/>
                    <a:gd name="T21" fmla="*/ 14 h 400"/>
                    <a:gd name="T22" fmla="*/ 12 w 238"/>
                    <a:gd name="T23" fmla="*/ 19 h 400"/>
                    <a:gd name="T24" fmla="*/ 12 w 238"/>
                    <a:gd name="T25" fmla="*/ 243 h 400"/>
                    <a:gd name="T26" fmla="*/ 0 w 238"/>
                    <a:gd name="T27" fmla="*/ 243 h 400"/>
                    <a:gd name="T28" fmla="*/ 0 w 238"/>
                    <a:gd name="T29" fmla="*/ 19 h 400"/>
                    <a:gd name="T30" fmla="*/ 6 w 238"/>
                    <a:gd name="T31" fmla="*/ 6 h 400"/>
                    <a:gd name="T32" fmla="*/ 21 w 238"/>
                    <a:gd name="T33" fmla="*/ 0 h 400"/>
                    <a:gd name="T34" fmla="*/ 219 w 238"/>
                    <a:gd name="T35" fmla="*/ 0 h 400"/>
                    <a:gd name="T36" fmla="*/ 238 w 238"/>
                    <a:gd name="T37" fmla="*/ 18 h 400"/>
                    <a:gd name="T38" fmla="*/ 238 w 238"/>
                    <a:gd name="T39" fmla="*/ 380 h 400"/>
                    <a:gd name="T40" fmla="*/ 218 w 238"/>
                    <a:gd name="T41" fmla="*/ 400 h 400"/>
                    <a:gd name="T42" fmla="*/ 217 w 238"/>
                    <a:gd name="T43" fmla="*/ 400 h 400"/>
                    <a:gd name="T44" fmla="*/ 12 w 238"/>
                    <a:gd name="T45" fmla="*/ 379 h 400"/>
                    <a:gd name="T46" fmla="*/ 23 w 238"/>
                    <a:gd name="T47" fmla="*/ 388 h 400"/>
                    <a:gd name="T48" fmla="*/ 217 w 238"/>
                    <a:gd name="T49" fmla="*/ 388 h 400"/>
                    <a:gd name="T50" fmla="*/ 226 w 238"/>
                    <a:gd name="T51" fmla="*/ 380 h 400"/>
                    <a:gd name="T52" fmla="*/ 226 w 238"/>
                    <a:gd name="T53" fmla="*/ 302 h 400"/>
                    <a:gd name="T54" fmla="*/ 12 w 238"/>
                    <a:gd name="T55" fmla="*/ 302 h 400"/>
                    <a:gd name="T56" fmla="*/ 12 w 238"/>
                    <a:gd name="T57" fmla="*/ 379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38" h="400">
                      <a:moveTo>
                        <a:pt x="217" y="400"/>
                      </a:moveTo>
                      <a:cubicBezTo>
                        <a:pt x="23" y="400"/>
                        <a:pt x="23" y="400"/>
                        <a:pt x="23" y="400"/>
                      </a:cubicBezTo>
                      <a:cubicBezTo>
                        <a:pt x="6" y="400"/>
                        <a:pt x="0" y="388"/>
                        <a:pt x="0" y="379"/>
                      </a:cubicBezTo>
                      <a:cubicBezTo>
                        <a:pt x="0" y="379"/>
                        <a:pt x="0" y="379"/>
                        <a:pt x="0" y="379"/>
                      </a:cubicBezTo>
                      <a:cubicBezTo>
                        <a:pt x="0" y="296"/>
                        <a:pt x="0" y="296"/>
                        <a:pt x="0" y="296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226" y="290"/>
                        <a:pt x="226" y="290"/>
                        <a:pt x="226" y="290"/>
                      </a:cubicBezTo>
                      <a:cubicBezTo>
                        <a:pt x="226" y="18"/>
                        <a:pt x="226" y="18"/>
                        <a:pt x="226" y="18"/>
                      </a:cubicBezTo>
                      <a:cubicBezTo>
                        <a:pt x="226" y="15"/>
                        <a:pt x="225" y="12"/>
                        <a:pt x="219" y="12"/>
                      </a:cubicBezTo>
                      <a:cubicBezTo>
                        <a:pt x="21" y="12"/>
                        <a:pt x="21" y="12"/>
                        <a:pt x="21" y="12"/>
                      </a:cubicBezTo>
                      <a:cubicBezTo>
                        <a:pt x="19" y="12"/>
                        <a:pt x="16" y="13"/>
                        <a:pt x="14" y="14"/>
                      </a:cubicBezTo>
                      <a:cubicBezTo>
                        <a:pt x="13" y="15"/>
                        <a:pt x="12" y="16"/>
                        <a:pt x="12" y="19"/>
                      </a:cubicBezTo>
                      <a:cubicBezTo>
                        <a:pt x="12" y="243"/>
                        <a:pt x="12" y="243"/>
                        <a:pt x="12" y="243"/>
                      </a:cubicBezTo>
                      <a:cubicBezTo>
                        <a:pt x="0" y="243"/>
                        <a:pt x="0" y="243"/>
                        <a:pt x="0" y="243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4"/>
                        <a:pt x="2" y="9"/>
                        <a:pt x="6" y="6"/>
                      </a:cubicBezTo>
                      <a:cubicBezTo>
                        <a:pt x="11" y="0"/>
                        <a:pt x="20" y="0"/>
                        <a:pt x="21" y="0"/>
                      </a:cubicBezTo>
                      <a:cubicBezTo>
                        <a:pt x="219" y="0"/>
                        <a:pt x="219" y="0"/>
                        <a:pt x="219" y="0"/>
                      </a:cubicBezTo>
                      <a:cubicBezTo>
                        <a:pt x="230" y="0"/>
                        <a:pt x="238" y="7"/>
                        <a:pt x="238" y="18"/>
                      </a:cubicBezTo>
                      <a:cubicBezTo>
                        <a:pt x="238" y="380"/>
                        <a:pt x="238" y="380"/>
                        <a:pt x="238" y="380"/>
                      </a:cubicBezTo>
                      <a:cubicBezTo>
                        <a:pt x="238" y="395"/>
                        <a:pt x="225" y="400"/>
                        <a:pt x="218" y="400"/>
                      </a:cubicBezTo>
                      <a:lnTo>
                        <a:pt x="217" y="400"/>
                      </a:lnTo>
                      <a:close/>
                      <a:moveTo>
                        <a:pt x="12" y="379"/>
                      </a:moveTo>
                      <a:cubicBezTo>
                        <a:pt x="12" y="382"/>
                        <a:pt x="14" y="388"/>
                        <a:pt x="23" y="388"/>
                      </a:cubicBezTo>
                      <a:cubicBezTo>
                        <a:pt x="217" y="388"/>
                        <a:pt x="217" y="388"/>
                        <a:pt x="217" y="388"/>
                      </a:cubicBezTo>
                      <a:cubicBezTo>
                        <a:pt x="219" y="388"/>
                        <a:pt x="226" y="387"/>
                        <a:pt x="226" y="380"/>
                      </a:cubicBezTo>
                      <a:cubicBezTo>
                        <a:pt x="226" y="302"/>
                        <a:pt x="226" y="302"/>
                        <a:pt x="226" y="302"/>
                      </a:cubicBezTo>
                      <a:cubicBezTo>
                        <a:pt x="12" y="302"/>
                        <a:pt x="12" y="302"/>
                        <a:pt x="12" y="302"/>
                      </a:cubicBezTo>
                      <a:lnTo>
                        <a:pt x="12" y="37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5" name="Freeform 303"/>
                <p:cNvSpPr>
                  <a:spLocks/>
                </p:cNvSpPr>
                <p:nvPr/>
              </p:nvSpPr>
              <p:spPr bwMode="auto">
                <a:xfrm>
                  <a:off x="-750888" y="2900363"/>
                  <a:ext cx="228600" cy="228600"/>
                </a:xfrm>
                <a:custGeom>
                  <a:avLst/>
                  <a:gdLst>
                    <a:gd name="T0" fmla="*/ 7 w 144"/>
                    <a:gd name="T1" fmla="*/ 144 h 144"/>
                    <a:gd name="T2" fmla="*/ 0 w 144"/>
                    <a:gd name="T3" fmla="*/ 135 h 144"/>
                    <a:gd name="T4" fmla="*/ 136 w 144"/>
                    <a:gd name="T5" fmla="*/ 0 h 144"/>
                    <a:gd name="T6" fmla="*/ 144 w 144"/>
                    <a:gd name="T7" fmla="*/ 7 h 144"/>
                    <a:gd name="T8" fmla="*/ 7 w 144"/>
                    <a:gd name="T9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" h="144">
                      <a:moveTo>
                        <a:pt x="7" y="144"/>
                      </a:moveTo>
                      <a:lnTo>
                        <a:pt x="0" y="135"/>
                      </a:lnTo>
                      <a:lnTo>
                        <a:pt x="136" y="0"/>
                      </a:lnTo>
                      <a:lnTo>
                        <a:pt x="144" y="7"/>
                      </a:lnTo>
                      <a:lnTo>
                        <a:pt x="7" y="1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6" name="Freeform 304"/>
                <p:cNvSpPr>
                  <a:spLocks/>
                </p:cNvSpPr>
                <p:nvPr/>
              </p:nvSpPr>
              <p:spPr bwMode="auto">
                <a:xfrm>
                  <a:off x="-600075" y="2879726"/>
                  <a:ext cx="211138" cy="211138"/>
                </a:xfrm>
                <a:custGeom>
                  <a:avLst/>
                  <a:gdLst>
                    <a:gd name="T0" fmla="*/ 8 w 133"/>
                    <a:gd name="T1" fmla="*/ 133 h 133"/>
                    <a:gd name="T2" fmla="*/ 0 w 133"/>
                    <a:gd name="T3" fmla="*/ 124 h 133"/>
                    <a:gd name="T4" fmla="*/ 125 w 133"/>
                    <a:gd name="T5" fmla="*/ 0 h 133"/>
                    <a:gd name="T6" fmla="*/ 133 w 133"/>
                    <a:gd name="T7" fmla="*/ 8 h 133"/>
                    <a:gd name="T8" fmla="*/ 8 w 133"/>
                    <a:gd name="T9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3" h="133">
                      <a:moveTo>
                        <a:pt x="8" y="133"/>
                      </a:moveTo>
                      <a:lnTo>
                        <a:pt x="0" y="124"/>
                      </a:lnTo>
                      <a:lnTo>
                        <a:pt x="125" y="0"/>
                      </a:lnTo>
                      <a:lnTo>
                        <a:pt x="133" y="8"/>
                      </a:lnTo>
                      <a:lnTo>
                        <a:pt x="8" y="1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47" name="Freeform 305"/>
                <p:cNvSpPr>
                  <a:spLocks/>
                </p:cNvSpPr>
                <p:nvPr/>
              </p:nvSpPr>
              <p:spPr bwMode="auto">
                <a:xfrm>
                  <a:off x="-590550" y="3003551"/>
                  <a:ext cx="192088" cy="195263"/>
                </a:xfrm>
                <a:custGeom>
                  <a:avLst/>
                  <a:gdLst>
                    <a:gd name="T0" fmla="*/ 7 w 121"/>
                    <a:gd name="T1" fmla="*/ 123 h 123"/>
                    <a:gd name="T2" fmla="*/ 0 w 121"/>
                    <a:gd name="T3" fmla="*/ 115 h 123"/>
                    <a:gd name="T4" fmla="*/ 114 w 121"/>
                    <a:gd name="T5" fmla="*/ 0 h 123"/>
                    <a:gd name="T6" fmla="*/ 121 w 121"/>
                    <a:gd name="T7" fmla="*/ 9 h 123"/>
                    <a:gd name="T8" fmla="*/ 7 w 121"/>
                    <a:gd name="T9" fmla="*/ 123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1" h="123">
                      <a:moveTo>
                        <a:pt x="7" y="123"/>
                      </a:moveTo>
                      <a:lnTo>
                        <a:pt x="0" y="115"/>
                      </a:lnTo>
                      <a:lnTo>
                        <a:pt x="114" y="0"/>
                      </a:lnTo>
                      <a:lnTo>
                        <a:pt x="121" y="9"/>
                      </a:lnTo>
                      <a:lnTo>
                        <a:pt x="7" y="1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28" name="TextBox 327"/>
              <p:cNvSpPr txBox="1"/>
              <p:nvPr/>
            </p:nvSpPr>
            <p:spPr>
              <a:xfrm>
                <a:off x="2145041" y="3285232"/>
                <a:ext cx="35266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Mobility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Standards</a:t>
                </a:r>
              </a:p>
            </p:txBody>
          </p:sp>
        </p:grpSp>
      </p:grpSp>
      <p:grpSp>
        <p:nvGrpSpPr>
          <p:cNvPr id="64" name="Group 63"/>
          <p:cNvGrpSpPr/>
          <p:nvPr/>
        </p:nvGrpSpPr>
        <p:grpSpPr>
          <a:xfrm>
            <a:off x="7177437" y="3010547"/>
            <a:ext cx="515921" cy="515921"/>
            <a:chOff x="2502514" y="1782876"/>
            <a:chExt cx="506164" cy="506164"/>
          </a:xfrm>
        </p:grpSpPr>
        <p:sp>
          <p:nvSpPr>
            <p:cNvPr id="303" name="Oval 302"/>
            <p:cNvSpPr/>
            <p:nvPr/>
          </p:nvSpPr>
          <p:spPr>
            <a:xfrm>
              <a:off x="2502514" y="1782876"/>
              <a:ext cx="506164" cy="506164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71" name="Freeform 5"/>
            <p:cNvSpPr>
              <a:spLocks noEditPoints="1"/>
            </p:cNvSpPr>
            <p:nvPr/>
          </p:nvSpPr>
          <p:spPr bwMode="auto">
            <a:xfrm>
              <a:off x="2668306" y="1844237"/>
              <a:ext cx="174580" cy="163633"/>
            </a:xfrm>
            <a:custGeom>
              <a:avLst/>
              <a:gdLst>
                <a:gd name="T0" fmla="*/ 1733 w 2068"/>
                <a:gd name="T1" fmla="*/ 702 h 1942"/>
                <a:gd name="T2" fmla="*/ 2053 w 2068"/>
                <a:gd name="T3" fmla="*/ 595 h 1942"/>
                <a:gd name="T4" fmla="*/ 1963 w 2068"/>
                <a:gd name="T5" fmla="*/ 455 h 1942"/>
                <a:gd name="T6" fmla="*/ 1786 w 2068"/>
                <a:gd name="T7" fmla="*/ 276 h 1942"/>
                <a:gd name="T8" fmla="*/ 1029 w 2068"/>
                <a:gd name="T9" fmla="*/ 302 h 1942"/>
                <a:gd name="T10" fmla="*/ 1395 w 2068"/>
                <a:gd name="T11" fmla="*/ 319 h 1942"/>
                <a:gd name="T12" fmla="*/ 639 w 2068"/>
                <a:gd name="T13" fmla="*/ 389 h 1942"/>
                <a:gd name="T14" fmla="*/ 330 w 2068"/>
                <a:gd name="T15" fmla="*/ 142 h 1942"/>
                <a:gd name="T16" fmla="*/ 244 w 2068"/>
                <a:gd name="T17" fmla="*/ 414 h 1942"/>
                <a:gd name="T18" fmla="*/ 115 w 2068"/>
                <a:gd name="T19" fmla="*/ 245 h 1942"/>
                <a:gd name="T20" fmla="*/ 259 w 2068"/>
                <a:gd name="T21" fmla="*/ 670 h 1942"/>
                <a:gd name="T22" fmla="*/ 59 w 2068"/>
                <a:gd name="T23" fmla="*/ 1577 h 1942"/>
                <a:gd name="T24" fmla="*/ 27 w 2068"/>
                <a:gd name="T25" fmla="*/ 1715 h 1942"/>
                <a:gd name="T26" fmla="*/ 359 w 2068"/>
                <a:gd name="T27" fmla="*/ 1911 h 1942"/>
                <a:gd name="T28" fmla="*/ 987 w 2068"/>
                <a:gd name="T29" fmla="*/ 1235 h 1942"/>
                <a:gd name="T30" fmla="*/ 1333 w 2068"/>
                <a:gd name="T31" fmla="*/ 1679 h 1942"/>
                <a:gd name="T32" fmla="*/ 1643 w 2068"/>
                <a:gd name="T33" fmla="*/ 1922 h 1942"/>
                <a:gd name="T34" fmla="*/ 1729 w 2068"/>
                <a:gd name="T35" fmla="*/ 1650 h 1942"/>
                <a:gd name="T36" fmla="*/ 1858 w 2068"/>
                <a:gd name="T37" fmla="*/ 1819 h 1942"/>
                <a:gd name="T38" fmla="*/ 1156 w 2068"/>
                <a:gd name="T39" fmla="*/ 960 h 1942"/>
                <a:gd name="T40" fmla="*/ 132 w 2068"/>
                <a:gd name="T41" fmla="*/ 540 h 1942"/>
                <a:gd name="T42" fmla="*/ 211 w 2068"/>
                <a:gd name="T43" fmla="*/ 505 h 1942"/>
                <a:gd name="T44" fmla="*/ 481 w 2068"/>
                <a:gd name="T45" fmla="*/ 342 h 1942"/>
                <a:gd name="T46" fmla="*/ 372 w 2068"/>
                <a:gd name="T47" fmla="*/ 544 h 1942"/>
                <a:gd name="T48" fmla="*/ 407 w 2068"/>
                <a:gd name="T49" fmla="*/ 614 h 1942"/>
                <a:gd name="T50" fmla="*/ 601 w 2068"/>
                <a:gd name="T51" fmla="*/ 470 h 1942"/>
                <a:gd name="T52" fmla="*/ 352 w 2068"/>
                <a:gd name="T53" fmla="*/ 638 h 1942"/>
                <a:gd name="T54" fmla="*/ 422 w 2068"/>
                <a:gd name="T55" fmla="*/ 1694 h 1942"/>
                <a:gd name="T56" fmla="*/ 97 w 2068"/>
                <a:gd name="T57" fmla="*/ 1678 h 1942"/>
                <a:gd name="T58" fmla="*/ 267 w 2068"/>
                <a:gd name="T59" fmla="*/ 1528 h 1942"/>
                <a:gd name="T60" fmla="*/ 1044 w 2068"/>
                <a:gd name="T61" fmla="*/ 1026 h 1942"/>
                <a:gd name="T62" fmla="*/ 1842 w 2068"/>
                <a:gd name="T63" fmla="*/ 1714 h 1942"/>
                <a:gd name="T64" fmla="*/ 1731 w 2068"/>
                <a:gd name="T65" fmla="*/ 1561 h 1942"/>
                <a:gd name="T66" fmla="*/ 1547 w 2068"/>
                <a:gd name="T67" fmla="*/ 1850 h 1942"/>
                <a:gd name="T68" fmla="*/ 1841 w 2068"/>
                <a:gd name="T69" fmla="*/ 1524 h 1942"/>
                <a:gd name="T70" fmla="*/ 1401 w 2068"/>
                <a:gd name="T71" fmla="*/ 1561 h 1942"/>
                <a:gd name="T72" fmla="*/ 1127 w 2068"/>
                <a:gd name="T73" fmla="*/ 1038 h 1942"/>
                <a:gd name="T74" fmla="*/ 1067 w 2068"/>
                <a:gd name="T75" fmla="*/ 942 h 1942"/>
                <a:gd name="T76" fmla="*/ 1440 w 2068"/>
                <a:gd name="T77" fmla="*/ 569 h 1942"/>
                <a:gd name="T78" fmla="*/ 1476 w 2068"/>
                <a:gd name="T79" fmla="*/ 314 h 1942"/>
                <a:gd name="T80" fmla="*/ 1104 w 2068"/>
                <a:gd name="T81" fmla="*/ 216 h 1942"/>
                <a:gd name="T82" fmla="*/ 1813 w 2068"/>
                <a:gd name="T83" fmla="*/ 462 h 1942"/>
                <a:gd name="T84" fmla="*/ 1973 w 2068"/>
                <a:gd name="T85" fmla="*/ 569 h 1942"/>
                <a:gd name="T86" fmla="*/ 1740 w 2068"/>
                <a:gd name="T87" fmla="*/ 552 h 1942"/>
                <a:gd name="T88" fmla="*/ 1430 w 2068"/>
                <a:gd name="T89" fmla="*/ 45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8" h="1942">
                  <a:moveTo>
                    <a:pt x="1676" y="592"/>
                  </a:moveTo>
                  <a:cubicBezTo>
                    <a:pt x="1726" y="692"/>
                    <a:pt x="1726" y="692"/>
                    <a:pt x="1726" y="692"/>
                  </a:cubicBezTo>
                  <a:cubicBezTo>
                    <a:pt x="1728" y="696"/>
                    <a:pt x="1730" y="699"/>
                    <a:pt x="1733" y="702"/>
                  </a:cubicBezTo>
                  <a:cubicBezTo>
                    <a:pt x="1813" y="782"/>
                    <a:pt x="1813" y="782"/>
                    <a:pt x="1813" y="782"/>
                  </a:cubicBezTo>
                  <a:cubicBezTo>
                    <a:pt x="1828" y="797"/>
                    <a:pt x="1852" y="797"/>
                    <a:pt x="1866" y="782"/>
                  </a:cubicBezTo>
                  <a:cubicBezTo>
                    <a:pt x="2053" y="595"/>
                    <a:pt x="2053" y="595"/>
                    <a:pt x="2053" y="595"/>
                  </a:cubicBezTo>
                  <a:cubicBezTo>
                    <a:pt x="2068" y="581"/>
                    <a:pt x="2068" y="557"/>
                    <a:pt x="2053" y="542"/>
                  </a:cubicBezTo>
                  <a:cubicBezTo>
                    <a:pt x="1973" y="462"/>
                    <a:pt x="1973" y="462"/>
                    <a:pt x="1973" y="462"/>
                  </a:cubicBezTo>
                  <a:cubicBezTo>
                    <a:pt x="1970" y="459"/>
                    <a:pt x="1967" y="457"/>
                    <a:pt x="1963" y="455"/>
                  </a:cubicBezTo>
                  <a:cubicBezTo>
                    <a:pt x="1862" y="405"/>
                    <a:pt x="1862" y="405"/>
                    <a:pt x="1862" y="405"/>
                  </a:cubicBezTo>
                  <a:cubicBezTo>
                    <a:pt x="1841" y="382"/>
                    <a:pt x="1836" y="368"/>
                    <a:pt x="1830" y="349"/>
                  </a:cubicBezTo>
                  <a:cubicBezTo>
                    <a:pt x="1823" y="329"/>
                    <a:pt x="1815" y="304"/>
                    <a:pt x="1786" y="276"/>
                  </a:cubicBezTo>
                  <a:cubicBezTo>
                    <a:pt x="1551" y="40"/>
                    <a:pt x="1281" y="0"/>
                    <a:pt x="1045" y="165"/>
                  </a:cubicBezTo>
                  <a:cubicBezTo>
                    <a:pt x="1035" y="172"/>
                    <a:pt x="1029" y="183"/>
                    <a:pt x="1029" y="196"/>
                  </a:cubicBezTo>
                  <a:cubicBezTo>
                    <a:pt x="1029" y="302"/>
                    <a:pt x="1029" y="302"/>
                    <a:pt x="1029" y="302"/>
                  </a:cubicBezTo>
                  <a:cubicBezTo>
                    <a:pt x="1029" y="315"/>
                    <a:pt x="1036" y="326"/>
                    <a:pt x="1046" y="333"/>
                  </a:cubicBezTo>
                  <a:cubicBezTo>
                    <a:pt x="1057" y="340"/>
                    <a:pt x="1071" y="341"/>
                    <a:pt x="1082" y="336"/>
                  </a:cubicBezTo>
                  <a:cubicBezTo>
                    <a:pt x="1182" y="294"/>
                    <a:pt x="1277" y="254"/>
                    <a:pt x="1395" y="319"/>
                  </a:cubicBezTo>
                  <a:cubicBezTo>
                    <a:pt x="1354" y="442"/>
                    <a:pt x="1354" y="442"/>
                    <a:pt x="1354" y="442"/>
                  </a:cubicBezTo>
                  <a:cubicBezTo>
                    <a:pt x="991" y="804"/>
                    <a:pt x="991" y="804"/>
                    <a:pt x="991" y="804"/>
                  </a:cubicBezTo>
                  <a:cubicBezTo>
                    <a:pt x="855" y="668"/>
                    <a:pt x="736" y="528"/>
                    <a:pt x="639" y="389"/>
                  </a:cubicBezTo>
                  <a:cubicBezTo>
                    <a:pt x="640" y="387"/>
                    <a:pt x="644" y="336"/>
                    <a:pt x="639" y="316"/>
                  </a:cubicBezTo>
                  <a:cubicBezTo>
                    <a:pt x="614" y="203"/>
                    <a:pt x="476" y="126"/>
                    <a:pt x="363" y="125"/>
                  </a:cubicBezTo>
                  <a:cubicBezTo>
                    <a:pt x="350" y="125"/>
                    <a:pt x="337" y="131"/>
                    <a:pt x="330" y="142"/>
                  </a:cubicBezTo>
                  <a:cubicBezTo>
                    <a:pt x="323" y="153"/>
                    <a:pt x="321" y="167"/>
                    <a:pt x="326" y="179"/>
                  </a:cubicBezTo>
                  <a:cubicBezTo>
                    <a:pt x="395" y="339"/>
                    <a:pt x="395" y="339"/>
                    <a:pt x="395" y="339"/>
                  </a:cubicBezTo>
                  <a:cubicBezTo>
                    <a:pt x="244" y="414"/>
                    <a:pt x="244" y="414"/>
                    <a:pt x="244" y="414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2" y="247"/>
                    <a:pt x="162" y="239"/>
                    <a:pt x="150" y="236"/>
                  </a:cubicBezTo>
                  <a:cubicBezTo>
                    <a:pt x="138" y="233"/>
                    <a:pt x="125" y="237"/>
                    <a:pt x="115" y="245"/>
                  </a:cubicBezTo>
                  <a:cubicBezTo>
                    <a:pt x="22" y="327"/>
                    <a:pt x="0" y="485"/>
                    <a:pt x="67" y="584"/>
                  </a:cubicBezTo>
                  <a:cubicBezTo>
                    <a:pt x="90" y="616"/>
                    <a:pt x="142" y="674"/>
                    <a:pt x="248" y="664"/>
                  </a:cubicBezTo>
                  <a:cubicBezTo>
                    <a:pt x="256" y="669"/>
                    <a:pt x="256" y="669"/>
                    <a:pt x="259" y="670"/>
                  </a:cubicBezTo>
                  <a:cubicBezTo>
                    <a:pt x="422" y="776"/>
                    <a:pt x="703" y="986"/>
                    <a:pt x="703" y="986"/>
                  </a:cubicBezTo>
                  <a:cubicBezTo>
                    <a:pt x="216" y="1472"/>
                    <a:pt x="216" y="1472"/>
                    <a:pt x="216" y="1472"/>
                  </a:cubicBezTo>
                  <a:cubicBezTo>
                    <a:pt x="59" y="1577"/>
                    <a:pt x="59" y="1577"/>
                    <a:pt x="59" y="1577"/>
                  </a:cubicBezTo>
                  <a:cubicBezTo>
                    <a:pt x="52" y="1582"/>
                    <a:pt x="47" y="1589"/>
                    <a:pt x="45" y="1596"/>
                  </a:cubicBezTo>
                  <a:cubicBezTo>
                    <a:pt x="18" y="1676"/>
                    <a:pt x="18" y="1676"/>
                    <a:pt x="18" y="1676"/>
                  </a:cubicBezTo>
                  <a:cubicBezTo>
                    <a:pt x="13" y="1690"/>
                    <a:pt x="17" y="1705"/>
                    <a:pt x="27" y="1715"/>
                  </a:cubicBezTo>
                  <a:cubicBezTo>
                    <a:pt x="240" y="1928"/>
                    <a:pt x="240" y="1928"/>
                    <a:pt x="240" y="1928"/>
                  </a:cubicBezTo>
                  <a:cubicBezTo>
                    <a:pt x="250" y="1938"/>
                    <a:pt x="265" y="1942"/>
                    <a:pt x="279" y="1937"/>
                  </a:cubicBezTo>
                  <a:cubicBezTo>
                    <a:pt x="359" y="1911"/>
                    <a:pt x="359" y="1911"/>
                    <a:pt x="359" y="1911"/>
                  </a:cubicBezTo>
                  <a:cubicBezTo>
                    <a:pt x="367" y="1908"/>
                    <a:pt x="374" y="1903"/>
                    <a:pt x="378" y="1896"/>
                  </a:cubicBezTo>
                  <a:cubicBezTo>
                    <a:pt x="483" y="1739"/>
                    <a:pt x="483" y="1739"/>
                    <a:pt x="483" y="1739"/>
                  </a:cubicBezTo>
                  <a:cubicBezTo>
                    <a:pt x="987" y="1235"/>
                    <a:pt x="987" y="1235"/>
                    <a:pt x="987" y="1235"/>
                  </a:cubicBezTo>
                  <a:cubicBezTo>
                    <a:pt x="987" y="1235"/>
                    <a:pt x="988" y="1234"/>
                    <a:pt x="988" y="1234"/>
                  </a:cubicBezTo>
                  <a:cubicBezTo>
                    <a:pt x="1130" y="1370"/>
                    <a:pt x="1248" y="1506"/>
                    <a:pt x="1345" y="1646"/>
                  </a:cubicBezTo>
                  <a:cubicBezTo>
                    <a:pt x="1336" y="1667"/>
                    <a:pt x="1333" y="1679"/>
                    <a:pt x="1333" y="1679"/>
                  </a:cubicBezTo>
                  <a:cubicBezTo>
                    <a:pt x="1328" y="1704"/>
                    <a:pt x="1329" y="1728"/>
                    <a:pt x="1334" y="1748"/>
                  </a:cubicBezTo>
                  <a:cubicBezTo>
                    <a:pt x="1359" y="1861"/>
                    <a:pt x="1497" y="1938"/>
                    <a:pt x="1610" y="1939"/>
                  </a:cubicBezTo>
                  <a:cubicBezTo>
                    <a:pt x="1623" y="1940"/>
                    <a:pt x="1636" y="1933"/>
                    <a:pt x="1643" y="1922"/>
                  </a:cubicBezTo>
                  <a:cubicBezTo>
                    <a:pt x="1650" y="1911"/>
                    <a:pt x="1652" y="1897"/>
                    <a:pt x="1647" y="1885"/>
                  </a:cubicBezTo>
                  <a:cubicBezTo>
                    <a:pt x="1578" y="1725"/>
                    <a:pt x="1578" y="1725"/>
                    <a:pt x="1578" y="1725"/>
                  </a:cubicBezTo>
                  <a:cubicBezTo>
                    <a:pt x="1729" y="1650"/>
                    <a:pt x="1729" y="1650"/>
                    <a:pt x="1729" y="1650"/>
                  </a:cubicBezTo>
                  <a:cubicBezTo>
                    <a:pt x="1796" y="1805"/>
                    <a:pt x="1796" y="1805"/>
                    <a:pt x="1796" y="1805"/>
                  </a:cubicBezTo>
                  <a:cubicBezTo>
                    <a:pt x="1801" y="1817"/>
                    <a:pt x="1811" y="1825"/>
                    <a:pt x="1823" y="1828"/>
                  </a:cubicBezTo>
                  <a:cubicBezTo>
                    <a:pt x="1835" y="1831"/>
                    <a:pt x="1848" y="1827"/>
                    <a:pt x="1858" y="1819"/>
                  </a:cubicBezTo>
                  <a:cubicBezTo>
                    <a:pt x="1951" y="1737"/>
                    <a:pt x="1973" y="1579"/>
                    <a:pt x="1906" y="1480"/>
                  </a:cubicBezTo>
                  <a:cubicBezTo>
                    <a:pt x="1884" y="1449"/>
                    <a:pt x="1832" y="1396"/>
                    <a:pt x="1734" y="1400"/>
                  </a:cubicBezTo>
                  <a:cubicBezTo>
                    <a:pt x="1524" y="1264"/>
                    <a:pt x="1329" y="1115"/>
                    <a:pt x="1156" y="960"/>
                  </a:cubicBezTo>
                  <a:cubicBezTo>
                    <a:pt x="1520" y="595"/>
                    <a:pt x="1520" y="595"/>
                    <a:pt x="1520" y="595"/>
                  </a:cubicBezTo>
                  <a:cubicBezTo>
                    <a:pt x="1563" y="553"/>
                    <a:pt x="1631" y="551"/>
                    <a:pt x="1676" y="592"/>
                  </a:cubicBezTo>
                  <a:close/>
                  <a:moveTo>
                    <a:pt x="132" y="540"/>
                  </a:moveTo>
                  <a:cubicBezTo>
                    <a:pt x="97" y="489"/>
                    <a:pt x="99" y="409"/>
                    <a:pt x="131" y="350"/>
                  </a:cubicBezTo>
                  <a:cubicBezTo>
                    <a:pt x="188" y="483"/>
                    <a:pt x="188" y="483"/>
                    <a:pt x="188" y="483"/>
                  </a:cubicBezTo>
                  <a:cubicBezTo>
                    <a:pt x="192" y="493"/>
                    <a:pt x="201" y="501"/>
                    <a:pt x="211" y="505"/>
                  </a:cubicBezTo>
                  <a:cubicBezTo>
                    <a:pt x="221" y="508"/>
                    <a:pt x="232" y="508"/>
                    <a:pt x="242" y="503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81" y="383"/>
                    <a:pt x="489" y="361"/>
                    <a:pt x="481" y="342"/>
                  </a:cubicBezTo>
                  <a:cubicBezTo>
                    <a:pt x="426" y="214"/>
                    <a:pt x="426" y="214"/>
                    <a:pt x="426" y="214"/>
                  </a:cubicBezTo>
                  <a:cubicBezTo>
                    <a:pt x="490" y="233"/>
                    <a:pt x="551" y="278"/>
                    <a:pt x="563" y="333"/>
                  </a:cubicBezTo>
                  <a:cubicBezTo>
                    <a:pt x="578" y="402"/>
                    <a:pt x="511" y="476"/>
                    <a:pt x="372" y="544"/>
                  </a:cubicBezTo>
                  <a:cubicBezTo>
                    <a:pt x="259" y="603"/>
                    <a:pt x="174" y="601"/>
                    <a:pt x="132" y="540"/>
                  </a:cubicBezTo>
                  <a:close/>
                  <a:moveTo>
                    <a:pt x="352" y="638"/>
                  </a:moveTo>
                  <a:cubicBezTo>
                    <a:pt x="357" y="637"/>
                    <a:pt x="392" y="621"/>
                    <a:pt x="407" y="614"/>
                  </a:cubicBezTo>
                  <a:cubicBezTo>
                    <a:pt x="483" y="577"/>
                    <a:pt x="536" y="539"/>
                    <a:pt x="572" y="503"/>
                  </a:cubicBezTo>
                  <a:cubicBezTo>
                    <a:pt x="583" y="492"/>
                    <a:pt x="592" y="482"/>
                    <a:pt x="600" y="472"/>
                  </a:cubicBezTo>
                  <a:cubicBezTo>
                    <a:pt x="600" y="471"/>
                    <a:pt x="600" y="470"/>
                    <a:pt x="601" y="470"/>
                  </a:cubicBezTo>
                  <a:cubicBezTo>
                    <a:pt x="689" y="591"/>
                    <a:pt x="793" y="713"/>
                    <a:pt x="910" y="833"/>
                  </a:cubicBezTo>
                  <a:cubicBezTo>
                    <a:pt x="765" y="936"/>
                    <a:pt x="765" y="936"/>
                    <a:pt x="765" y="936"/>
                  </a:cubicBezTo>
                  <a:cubicBezTo>
                    <a:pt x="640" y="837"/>
                    <a:pt x="503" y="737"/>
                    <a:pt x="352" y="638"/>
                  </a:cubicBezTo>
                  <a:close/>
                  <a:moveTo>
                    <a:pt x="931" y="1184"/>
                  </a:moveTo>
                  <a:cubicBezTo>
                    <a:pt x="427" y="1688"/>
                    <a:pt x="427" y="1688"/>
                    <a:pt x="427" y="1688"/>
                  </a:cubicBezTo>
                  <a:cubicBezTo>
                    <a:pt x="425" y="1690"/>
                    <a:pt x="424" y="1692"/>
                    <a:pt x="422" y="1694"/>
                  </a:cubicBezTo>
                  <a:cubicBezTo>
                    <a:pt x="323" y="1843"/>
                    <a:pt x="323" y="1843"/>
                    <a:pt x="323" y="1843"/>
                  </a:cubicBezTo>
                  <a:cubicBezTo>
                    <a:pt x="277" y="1858"/>
                    <a:pt x="277" y="1858"/>
                    <a:pt x="277" y="1858"/>
                  </a:cubicBezTo>
                  <a:cubicBezTo>
                    <a:pt x="97" y="1678"/>
                    <a:pt x="97" y="1678"/>
                    <a:pt x="97" y="1678"/>
                  </a:cubicBezTo>
                  <a:cubicBezTo>
                    <a:pt x="112" y="1633"/>
                    <a:pt x="112" y="1633"/>
                    <a:pt x="112" y="1633"/>
                  </a:cubicBezTo>
                  <a:cubicBezTo>
                    <a:pt x="261" y="1533"/>
                    <a:pt x="261" y="1533"/>
                    <a:pt x="261" y="1533"/>
                  </a:cubicBezTo>
                  <a:cubicBezTo>
                    <a:pt x="263" y="1532"/>
                    <a:pt x="265" y="1530"/>
                    <a:pt x="267" y="1528"/>
                  </a:cubicBezTo>
                  <a:cubicBezTo>
                    <a:pt x="771" y="1024"/>
                    <a:pt x="771" y="1024"/>
                    <a:pt x="771" y="1024"/>
                  </a:cubicBezTo>
                  <a:cubicBezTo>
                    <a:pt x="929" y="911"/>
                    <a:pt x="929" y="911"/>
                    <a:pt x="929" y="911"/>
                  </a:cubicBezTo>
                  <a:cubicBezTo>
                    <a:pt x="1044" y="1026"/>
                    <a:pt x="1044" y="1026"/>
                    <a:pt x="1044" y="1026"/>
                  </a:cubicBezTo>
                  <a:lnTo>
                    <a:pt x="931" y="1184"/>
                  </a:lnTo>
                  <a:close/>
                  <a:moveTo>
                    <a:pt x="1841" y="1524"/>
                  </a:moveTo>
                  <a:cubicBezTo>
                    <a:pt x="1876" y="1575"/>
                    <a:pt x="1874" y="1655"/>
                    <a:pt x="1842" y="1714"/>
                  </a:cubicBezTo>
                  <a:cubicBezTo>
                    <a:pt x="1785" y="1581"/>
                    <a:pt x="1785" y="1581"/>
                    <a:pt x="1785" y="1581"/>
                  </a:cubicBezTo>
                  <a:cubicBezTo>
                    <a:pt x="1780" y="1571"/>
                    <a:pt x="1772" y="1563"/>
                    <a:pt x="1762" y="1559"/>
                  </a:cubicBezTo>
                  <a:cubicBezTo>
                    <a:pt x="1752" y="1556"/>
                    <a:pt x="1741" y="1556"/>
                    <a:pt x="1731" y="1561"/>
                  </a:cubicBezTo>
                  <a:cubicBezTo>
                    <a:pt x="1510" y="1672"/>
                    <a:pt x="1510" y="1672"/>
                    <a:pt x="1510" y="1672"/>
                  </a:cubicBezTo>
                  <a:cubicBezTo>
                    <a:pt x="1492" y="1681"/>
                    <a:pt x="1484" y="1703"/>
                    <a:pt x="1492" y="1722"/>
                  </a:cubicBezTo>
                  <a:cubicBezTo>
                    <a:pt x="1547" y="1850"/>
                    <a:pt x="1547" y="1850"/>
                    <a:pt x="1547" y="1850"/>
                  </a:cubicBezTo>
                  <a:cubicBezTo>
                    <a:pt x="1483" y="1831"/>
                    <a:pt x="1422" y="1786"/>
                    <a:pt x="1410" y="1731"/>
                  </a:cubicBezTo>
                  <a:cubicBezTo>
                    <a:pt x="1395" y="1662"/>
                    <a:pt x="1462" y="1588"/>
                    <a:pt x="1601" y="1520"/>
                  </a:cubicBezTo>
                  <a:cubicBezTo>
                    <a:pt x="1714" y="1462"/>
                    <a:pt x="1799" y="1463"/>
                    <a:pt x="1841" y="1524"/>
                  </a:cubicBezTo>
                  <a:close/>
                  <a:moveTo>
                    <a:pt x="1628" y="1424"/>
                  </a:moveTo>
                  <a:cubicBezTo>
                    <a:pt x="1620" y="1426"/>
                    <a:pt x="1581" y="1443"/>
                    <a:pt x="1566" y="1450"/>
                  </a:cubicBezTo>
                  <a:cubicBezTo>
                    <a:pt x="1490" y="1487"/>
                    <a:pt x="1437" y="1525"/>
                    <a:pt x="1401" y="1561"/>
                  </a:cubicBezTo>
                  <a:cubicBezTo>
                    <a:pt x="1396" y="1565"/>
                    <a:pt x="1393" y="1569"/>
                    <a:pt x="1390" y="1574"/>
                  </a:cubicBezTo>
                  <a:cubicBezTo>
                    <a:pt x="1292" y="1437"/>
                    <a:pt x="1173" y="1303"/>
                    <a:pt x="1034" y="1170"/>
                  </a:cubicBezTo>
                  <a:cubicBezTo>
                    <a:pt x="1034" y="1170"/>
                    <a:pt x="1126" y="1040"/>
                    <a:pt x="1127" y="1038"/>
                  </a:cubicBezTo>
                  <a:cubicBezTo>
                    <a:pt x="1127" y="1038"/>
                    <a:pt x="1127" y="1038"/>
                    <a:pt x="1127" y="1038"/>
                  </a:cubicBezTo>
                  <a:cubicBezTo>
                    <a:pt x="1279" y="1173"/>
                    <a:pt x="1448" y="1303"/>
                    <a:pt x="1628" y="1424"/>
                  </a:cubicBezTo>
                  <a:close/>
                  <a:moveTo>
                    <a:pt x="1067" y="942"/>
                  </a:moveTo>
                  <a:cubicBezTo>
                    <a:pt x="1013" y="889"/>
                    <a:pt x="1013" y="889"/>
                    <a:pt x="1013" y="889"/>
                  </a:cubicBezTo>
                  <a:cubicBezTo>
                    <a:pt x="1387" y="515"/>
                    <a:pt x="1387" y="515"/>
                    <a:pt x="1387" y="515"/>
                  </a:cubicBezTo>
                  <a:cubicBezTo>
                    <a:pt x="1440" y="569"/>
                    <a:pt x="1440" y="569"/>
                    <a:pt x="1440" y="569"/>
                  </a:cubicBezTo>
                  <a:lnTo>
                    <a:pt x="1067" y="942"/>
                  </a:lnTo>
                  <a:close/>
                  <a:moveTo>
                    <a:pt x="1430" y="452"/>
                  </a:moveTo>
                  <a:cubicBezTo>
                    <a:pt x="1476" y="314"/>
                    <a:pt x="1476" y="314"/>
                    <a:pt x="1476" y="314"/>
                  </a:cubicBezTo>
                  <a:cubicBezTo>
                    <a:pt x="1481" y="298"/>
                    <a:pt x="1475" y="280"/>
                    <a:pt x="1461" y="271"/>
                  </a:cubicBezTo>
                  <a:cubicBezTo>
                    <a:pt x="1323" y="180"/>
                    <a:pt x="1204" y="207"/>
                    <a:pt x="1104" y="246"/>
                  </a:cubicBezTo>
                  <a:cubicBezTo>
                    <a:pt x="1104" y="216"/>
                    <a:pt x="1104" y="216"/>
                    <a:pt x="1104" y="216"/>
                  </a:cubicBezTo>
                  <a:cubicBezTo>
                    <a:pt x="1228" y="135"/>
                    <a:pt x="1462" y="58"/>
                    <a:pt x="1733" y="329"/>
                  </a:cubicBezTo>
                  <a:cubicBezTo>
                    <a:pt x="1749" y="345"/>
                    <a:pt x="1753" y="356"/>
                    <a:pt x="1758" y="373"/>
                  </a:cubicBezTo>
                  <a:cubicBezTo>
                    <a:pt x="1766" y="396"/>
                    <a:pt x="1776" y="425"/>
                    <a:pt x="1813" y="462"/>
                  </a:cubicBezTo>
                  <a:cubicBezTo>
                    <a:pt x="1816" y="465"/>
                    <a:pt x="1819" y="467"/>
                    <a:pt x="1823" y="469"/>
                  </a:cubicBezTo>
                  <a:cubicBezTo>
                    <a:pt x="1924" y="520"/>
                    <a:pt x="1924" y="520"/>
                    <a:pt x="1924" y="520"/>
                  </a:cubicBezTo>
                  <a:cubicBezTo>
                    <a:pt x="1973" y="569"/>
                    <a:pt x="1973" y="569"/>
                    <a:pt x="1973" y="569"/>
                  </a:cubicBezTo>
                  <a:cubicBezTo>
                    <a:pt x="1840" y="702"/>
                    <a:pt x="1840" y="702"/>
                    <a:pt x="1840" y="702"/>
                  </a:cubicBezTo>
                  <a:cubicBezTo>
                    <a:pt x="1791" y="653"/>
                    <a:pt x="1791" y="653"/>
                    <a:pt x="1791" y="653"/>
                  </a:cubicBezTo>
                  <a:cubicBezTo>
                    <a:pt x="1740" y="552"/>
                    <a:pt x="1740" y="552"/>
                    <a:pt x="1740" y="552"/>
                  </a:cubicBezTo>
                  <a:cubicBezTo>
                    <a:pt x="1738" y="548"/>
                    <a:pt x="1736" y="545"/>
                    <a:pt x="1733" y="542"/>
                  </a:cubicBezTo>
                  <a:cubicBezTo>
                    <a:pt x="1669" y="478"/>
                    <a:pt x="1569" y="470"/>
                    <a:pt x="1496" y="518"/>
                  </a:cubicBezTo>
                  <a:lnTo>
                    <a:pt x="1430" y="45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329" name="TextBox 328"/>
            <p:cNvSpPr txBox="1"/>
            <p:nvPr/>
          </p:nvSpPr>
          <p:spPr>
            <a:xfrm>
              <a:off x="2543842" y="2032578"/>
              <a:ext cx="4235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6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Self-Service Portal*</a:t>
              </a:r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4417161" y="2214301"/>
            <a:ext cx="512615" cy="512615"/>
            <a:chOff x="2007565" y="2300157"/>
            <a:chExt cx="502920" cy="502920"/>
          </a:xfrm>
        </p:grpSpPr>
        <p:sp>
          <p:nvSpPr>
            <p:cNvPr id="302" name="Oval 301"/>
            <p:cNvSpPr/>
            <p:nvPr/>
          </p:nvSpPr>
          <p:spPr>
            <a:xfrm>
              <a:off x="2007565" y="2300157"/>
              <a:ext cx="502920" cy="50292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2019131" y="2340091"/>
              <a:ext cx="479790" cy="360487"/>
              <a:chOff x="2017912" y="2340091"/>
              <a:chExt cx="479790" cy="360487"/>
            </a:xfrm>
          </p:grpSpPr>
          <p:grpSp>
            <p:nvGrpSpPr>
              <p:cNvPr id="256" name="Group 255"/>
              <p:cNvGrpSpPr/>
              <p:nvPr/>
            </p:nvGrpSpPr>
            <p:grpSpPr>
              <a:xfrm>
                <a:off x="2208544" y="2340091"/>
                <a:ext cx="98526" cy="172109"/>
                <a:chOff x="6143562" y="6593586"/>
                <a:chExt cx="250825" cy="438150"/>
              </a:xfrm>
            </p:grpSpPr>
            <p:sp>
              <p:nvSpPr>
                <p:cNvPr id="257" name="Freeform 80"/>
                <p:cNvSpPr>
                  <a:spLocks noEditPoints="1"/>
                </p:cNvSpPr>
                <p:nvPr/>
              </p:nvSpPr>
              <p:spPr bwMode="auto">
                <a:xfrm>
                  <a:off x="6143562" y="6593586"/>
                  <a:ext cx="250825" cy="438150"/>
                </a:xfrm>
                <a:custGeom>
                  <a:avLst/>
                  <a:gdLst>
                    <a:gd name="T0" fmla="*/ 95 w 109"/>
                    <a:gd name="T1" fmla="*/ 0 h 192"/>
                    <a:gd name="T2" fmla="*/ 14 w 109"/>
                    <a:gd name="T3" fmla="*/ 0 h 192"/>
                    <a:gd name="T4" fmla="*/ 0 w 109"/>
                    <a:gd name="T5" fmla="*/ 14 h 192"/>
                    <a:gd name="T6" fmla="*/ 0 w 109"/>
                    <a:gd name="T7" fmla="*/ 178 h 192"/>
                    <a:gd name="T8" fmla="*/ 14 w 109"/>
                    <a:gd name="T9" fmla="*/ 192 h 192"/>
                    <a:gd name="T10" fmla="*/ 95 w 109"/>
                    <a:gd name="T11" fmla="*/ 192 h 192"/>
                    <a:gd name="T12" fmla="*/ 109 w 109"/>
                    <a:gd name="T13" fmla="*/ 178 h 192"/>
                    <a:gd name="T14" fmla="*/ 109 w 109"/>
                    <a:gd name="T15" fmla="*/ 14 h 192"/>
                    <a:gd name="T16" fmla="*/ 95 w 109"/>
                    <a:gd name="T17" fmla="*/ 0 h 192"/>
                    <a:gd name="T18" fmla="*/ 6 w 109"/>
                    <a:gd name="T19" fmla="*/ 26 h 192"/>
                    <a:gd name="T20" fmla="*/ 102 w 109"/>
                    <a:gd name="T21" fmla="*/ 26 h 192"/>
                    <a:gd name="T22" fmla="*/ 102 w 109"/>
                    <a:gd name="T23" fmla="*/ 147 h 192"/>
                    <a:gd name="T24" fmla="*/ 6 w 109"/>
                    <a:gd name="T25" fmla="*/ 147 h 192"/>
                    <a:gd name="T26" fmla="*/ 6 w 109"/>
                    <a:gd name="T27" fmla="*/ 26 h 192"/>
                    <a:gd name="T28" fmla="*/ 14 w 109"/>
                    <a:gd name="T29" fmla="*/ 6 h 192"/>
                    <a:gd name="T30" fmla="*/ 95 w 109"/>
                    <a:gd name="T31" fmla="*/ 6 h 192"/>
                    <a:gd name="T32" fmla="*/ 102 w 109"/>
                    <a:gd name="T33" fmla="*/ 14 h 192"/>
                    <a:gd name="T34" fmla="*/ 102 w 109"/>
                    <a:gd name="T35" fmla="*/ 19 h 192"/>
                    <a:gd name="T36" fmla="*/ 6 w 109"/>
                    <a:gd name="T37" fmla="*/ 19 h 192"/>
                    <a:gd name="T38" fmla="*/ 6 w 109"/>
                    <a:gd name="T39" fmla="*/ 14 h 192"/>
                    <a:gd name="T40" fmla="*/ 14 w 109"/>
                    <a:gd name="T41" fmla="*/ 6 h 192"/>
                    <a:gd name="T42" fmla="*/ 95 w 109"/>
                    <a:gd name="T43" fmla="*/ 186 h 192"/>
                    <a:gd name="T44" fmla="*/ 14 w 109"/>
                    <a:gd name="T45" fmla="*/ 186 h 192"/>
                    <a:gd name="T46" fmla="*/ 6 w 109"/>
                    <a:gd name="T47" fmla="*/ 178 h 192"/>
                    <a:gd name="T48" fmla="*/ 6 w 109"/>
                    <a:gd name="T49" fmla="*/ 154 h 192"/>
                    <a:gd name="T50" fmla="*/ 102 w 109"/>
                    <a:gd name="T51" fmla="*/ 154 h 192"/>
                    <a:gd name="T52" fmla="*/ 102 w 109"/>
                    <a:gd name="T53" fmla="*/ 178 h 192"/>
                    <a:gd name="T54" fmla="*/ 95 w 109"/>
                    <a:gd name="T55" fmla="*/ 186 h 192"/>
                    <a:gd name="T56" fmla="*/ 95 w 109"/>
                    <a:gd name="T57" fmla="*/ 186 h 192"/>
                    <a:gd name="T58" fmla="*/ 95 w 109"/>
                    <a:gd name="T59" fmla="*/ 186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9" h="192">
                      <a:moveTo>
                        <a:pt x="95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178"/>
                        <a:pt x="0" y="178"/>
                        <a:pt x="0" y="178"/>
                      </a:cubicBezTo>
                      <a:cubicBezTo>
                        <a:pt x="0" y="186"/>
                        <a:pt x="6" y="192"/>
                        <a:pt x="14" y="192"/>
                      </a:cubicBezTo>
                      <a:cubicBezTo>
                        <a:pt x="95" y="192"/>
                        <a:pt x="95" y="192"/>
                        <a:pt x="95" y="192"/>
                      </a:cubicBezTo>
                      <a:cubicBezTo>
                        <a:pt x="102" y="192"/>
                        <a:pt x="109" y="186"/>
                        <a:pt x="109" y="178"/>
                      </a:cubicBezTo>
                      <a:cubicBezTo>
                        <a:pt x="109" y="14"/>
                        <a:pt x="109" y="14"/>
                        <a:pt x="109" y="14"/>
                      </a:cubicBezTo>
                      <a:cubicBezTo>
                        <a:pt x="109" y="6"/>
                        <a:pt x="102" y="0"/>
                        <a:pt x="95" y="0"/>
                      </a:cubicBezTo>
                      <a:close/>
                      <a:moveTo>
                        <a:pt x="6" y="26"/>
                      </a:moveTo>
                      <a:cubicBezTo>
                        <a:pt x="102" y="26"/>
                        <a:pt x="102" y="26"/>
                        <a:pt x="102" y="26"/>
                      </a:cubicBezTo>
                      <a:cubicBezTo>
                        <a:pt x="102" y="147"/>
                        <a:pt x="102" y="147"/>
                        <a:pt x="102" y="147"/>
                      </a:cubicBezTo>
                      <a:cubicBezTo>
                        <a:pt x="6" y="147"/>
                        <a:pt x="6" y="147"/>
                        <a:pt x="6" y="147"/>
                      </a:cubicBezTo>
                      <a:lnTo>
                        <a:pt x="6" y="26"/>
                      </a:lnTo>
                      <a:close/>
                      <a:moveTo>
                        <a:pt x="14" y="6"/>
                      </a:moveTo>
                      <a:cubicBezTo>
                        <a:pt x="95" y="6"/>
                        <a:pt x="95" y="6"/>
                        <a:pt x="95" y="6"/>
                      </a:cubicBezTo>
                      <a:cubicBezTo>
                        <a:pt x="99" y="6"/>
                        <a:pt x="102" y="10"/>
                        <a:pt x="102" y="14"/>
                      </a:cubicBezTo>
                      <a:cubicBezTo>
                        <a:pt x="102" y="19"/>
                        <a:pt x="102" y="19"/>
                        <a:pt x="102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6" y="10"/>
                        <a:pt x="10" y="6"/>
                        <a:pt x="14" y="6"/>
                      </a:cubicBezTo>
                      <a:close/>
                      <a:moveTo>
                        <a:pt x="95" y="186"/>
                      </a:moveTo>
                      <a:cubicBezTo>
                        <a:pt x="14" y="186"/>
                        <a:pt x="14" y="186"/>
                        <a:pt x="14" y="186"/>
                      </a:cubicBezTo>
                      <a:cubicBezTo>
                        <a:pt x="10" y="186"/>
                        <a:pt x="6" y="182"/>
                        <a:pt x="6" y="178"/>
                      </a:cubicBezTo>
                      <a:cubicBezTo>
                        <a:pt x="6" y="154"/>
                        <a:pt x="6" y="154"/>
                        <a:pt x="6" y="154"/>
                      </a:cubicBezTo>
                      <a:cubicBezTo>
                        <a:pt x="102" y="154"/>
                        <a:pt x="102" y="154"/>
                        <a:pt x="102" y="154"/>
                      </a:cubicBezTo>
                      <a:cubicBezTo>
                        <a:pt x="102" y="178"/>
                        <a:pt x="102" y="178"/>
                        <a:pt x="102" y="178"/>
                      </a:cubicBezTo>
                      <a:cubicBezTo>
                        <a:pt x="102" y="182"/>
                        <a:pt x="99" y="186"/>
                        <a:pt x="95" y="186"/>
                      </a:cubicBezTo>
                      <a:close/>
                      <a:moveTo>
                        <a:pt x="95" y="186"/>
                      </a:moveTo>
                      <a:cubicBezTo>
                        <a:pt x="95" y="186"/>
                        <a:pt x="95" y="186"/>
                        <a:pt x="95" y="18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59" name="Freeform 81"/>
                <p:cNvSpPr>
                  <a:spLocks noEditPoints="1"/>
                </p:cNvSpPr>
                <p:nvPr/>
              </p:nvSpPr>
              <p:spPr bwMode="auto">
                <a:xfrm>
                  <a:off x="6240400" y="6952361"/>
                  <a:ext cx="57150" cy="57150"/>
                </a:xfrm>
                <a:custGeom>
                  <a:avLst/>
                  <a:gdLst>
                    <a:gd name="T0" fmla="*/ 12 w 25"/>
                    <a:gd name="T1" fmla="*/ 0 h 25"/>
                    <a:gd name="T2" fmla="*/ 0 w 25"/>
                    <a:gd name="T3" fmla="*/ 13 h 25"/>
                    <a:gd name="T4" fmla="*/ 12 w 25"/>
                    <a:gd name="T5" fmla="*/ 25 h 25"/>
                    <a:gd name="T6" fmla="*/ 25 w 25"/>
                    <a:gd name="T7" fmla="*/ 13 h 25"/>
                    <a:gd name="T8" fmla="*/ 12 w 25"/>
                    <a:gd name="T9" fmla="*/ 0 h 25"/>
                    <a:gd name="T10" fmla="*/ 12 w 25"/>
                    <a:gd name="T11" fmla="*/ 19 h 25"/>
                    <a:gd name="T12" fmla="*/ 6 w 25"/>
                    <a:gd name="T13" fmla="*/ 13 h 25"/>
                    <a:gd name="T14" fmla="*/ 12 w 25"/>
                    <a:gd name="T15" fmla="*/ 6 h 25"/>
                    <a:gd name="T16" fmla="*/ 19 w 25"/>
                    <a:gd name="T17" fmla="*/ 13 h 25"/>
                    <a:gd name="T18" fmla="*/ 12 w 25"/>
                    <a:gd name="T19" fmla="*/ 19 h 25"/>
                    <a:gd name="T20" fmla="*/ 12 w 25"/>
                    <a:gd name="T21" fmla="*/ 19 h 25"/>
                    <a:gd name="T22" fmla="*/ 12 w 25"/>
                    <a:gd name="T2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" h="25">
                      <a:moveTo>
                        <a:pt x="12" y="0"/>
                      </a:moveTo>
                      <a:cubicBezTo>
                        <a:pt x="5" y="0"/>
                        <a:pt x="0" y="6"/>
                        <a:pt x="0" y="13"/>
                      </a:cubicBezTo>
                      <a:cubicBezTo>
                        <a:pt x="0" y="20"/>
                        <a:pt x="5" y="25"/>
                        <a:pt x="12" y="25"/>
                      </a:cubicBezTo>
                      <a:cubicBezTo>
                        <a:pt x="19" y="25"/>
                        <a:pt x="25" y="20"/>
                        <a:pt x="25" y="13"/>
                      </a:cubicBezTo>
                      <a:cubicBezTo>
                        <a:pt x="25" y="6"/>
                        <a:pt x="19" y="0"/>
                        <a:pt x="12" y="0"/>
                      </a:cubicBezTo>
                      <a:close/>
                      <a:moveTo>
                        <a:pt x="12" y="19"/>
                      </a:moveTo>
                      <a:cubicBezTo>
                        <a:pt x="9" y="19"/>
                        <a:pt x="6" y="16"/>
                        <a:pt x="6" y="13"/>
                      </a:cubicBezTo>
                      <a:cubicBezTo>
                        <a:pt x="6" y="9"/>
                        <a:pt x="9" y="6"/>
                        <a:pt x="12" y="6"/>
                      </a:cubicBezTo>
                      <a:cubicBezTo>
                        <a:pt x="16" y="6"/>
                        <a:pt x="19" y="9"/>
                        <a:pt x="19" y="13"/>
                      </a:cubicBezTo>
                      <a:cubicBezTo>
                        <a:pt x="19" y="16"/>
                        <a:pt x="16" y="19"/>
                        <a:pt x="12" y="19"/>
                      </a:cubicBezTo>
                      <a:close/>
                      <a:moveTo>
                        <a:pt x="12" y="19"/>
                      </a:moveTo>
                      <a:cubicBezTo>
                        <a:pt x="12" y="19"/>
                        <a:pt x="12" y="19"/>
                        <a:pt x="12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0" name="Freeform 82"/>
                <p:cNvSpPr>
                  <a:spLocks noEditPoints="1"/>
                </p:cNvSpPr>
                <p:nvPr/>
              </p:nvSpPr>
              <p:spPr bwMode="auto">
                <a:xfrm>
                  <a:off x="6230875" y="6615811"/>
                  <a:ext cx="46038" cy="14288"/>
                </a:xfrm>
                <a:custGeom>
                  <a:avLst/>
                  <a:gdLst>
                    <a:gd name="T0" fmla="*/ 4 w 20"/>
                    <a:gd name="T1" fmla="*/ 6 h 6"/>
                    <a:gd name="T2" fmla="*/ 16 w 20"/>
                    <a:gd name="T3" fmla="*/ 6 h 6"/>
                    <a:gd name="T4" fmla="*/ 20 w 20"/>
                    <a:gd name="T5" fmla="*/ 3 h 6"/>
                    <a:gd name="T6" fmla="*/ 16 w 20"/>
                    <a:gd name="T7" fmla="*/ 0 h 6"/>
                    <a:gd name="T8" fmla="*/ 4 w 20"/>
                    <a:gd name="T9" fmla="*/ 0 h 6"/>
                    <a:gd name="T10" fmla="*/ 0 w 20"/>
                    <a:gd name="T11" fmla="*/ 3 h 6"/>
                    <a:gd name="T12" fmla="*/ 4 w 20"/>
                    <a:gd name="T13" fmla="*/ 6 h 6"/>
                    <a:gd name="T14" fmla="*/ 4 w 20"/>
                    <a:gd name="T15" fmla="*/ 6 h 6"/>
                    <a:gd name="T16" fmla="*/ 4 w 20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6">
                      <a:moveTo>
                        <a:pt x="4" y="6"/>
                      </a:move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8" y="6"/>
                        <a:pt x="20" y="5"/>
                        <a:pt x="20" y="3"/>
                      </a:cubicBezTo>
                      <a:cubicBezTo>
                        <a:pt x="20" y="1"/>
                        <a:pt x="18" y="0"/>
                        <a:pt x="16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1"/>
                        <a:pt x="0" y="3"/>
                      </a:cubicBezTo>
                      <a:cubicBezTo>
                        <a:pt x="0" y="5"/>
                        <a:pt x="2" y="6"/>
                        <a:pt x="4" y="6"/>
                      </a:cubicBezTo>
                      <a:close/>
                      <a:moveTo>
                        <a:pt x="4" y="6"/>
                      </a:moveTo>
                      <a:cubicBezTo>
                        <a:pt x="4" y="6"/>
                        <a:pt x="4" y="6"/>
                        <a:pt x="4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1" name="Freeform 83"/>
                <p:cNvSpPr>
                  <a:spLocks noEditPoints="1"/>
                </p:cNvSpPr>
                <p:nvPr/>
              </p:nvSpPr>
              <p:spPr bwMode="auto">
                <a:xfrm>
                  <a:off x="6283262" y="6615811"/>
                  <a:ext cx="22225" cy="14288"/>
                </a:xfrm>
                <a:custGeom>
                  <a:avLst/>
                  <a:gdLst>
                    <a:gd name="T0" fmla="*/ 3 w 9"/>
                    <a:gd name="T1" fmla="*/ 6 h 6"/>
                    <a:gd name="T2" fmla="*/ 6 w 9"/>
                    <a:gd name="T3" fmla="*/ 6 h 6"/>
                    <a:gd name="T4" fmla="*/ 9 w 9"/>
                    <a:gd name="T5" fmla="*/ 3 h 6"/>
                    <a:gd name="T6" fmla="*/ 6 w 9"/>
                    <a:gd name="T7" fmla="*/ 0 h 6"/>
                    <a:gd name="T8" fmla="*/ 3 w 9"/>
                    <a:gd name="T9" fmla="*/ 0 h 6"/>
                    <a:gd name="T10" fmla="*/ 0 w 9"/>
                    <a:gd name="T11" fmla="*/ 3 h 6"/>
                    <a:gd name="T12" fmla="*/ 3 w 9"/>
                    <a:gd name="T13" fmla="*/ 6 h 6"/>
                    <a:gd name="T14" fmla="*/ 3 w 9"/>
                    <a:gd name="T15" fmla="*/ 6 h 6"/>
                    <a:gd name="T16" fmla="*/ 3 w 9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6">
                      <a:moveTo>
                        <a:pt x="3" y="6"/>
                      </a:move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8" y="6"/>
                        <a:pt x="9" y="5"/>
                        <a:pt x="9" y="3"/>
                      </a:cubicBezTo>
                      <a:cubicBezTo>
                        <a:pt x="9" y="1"/>
                        <a:pt x="8" y="0"/>
                        <a:pt x="6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5"/>
                        <a:pt x="1" y="6"/>
                        <a:pt x="3" y="6"/>
                      </a:cubicBezTo>
                      <a:close/>
                      <a:moveTo>
                        <a:pt x="3" y="6"/>
                      </a:moveTo>
                      <a:cubicBezTo>
                        <a:pt x="3" y="6"/>
                        <a:pt x="3" y="6"/>
                        <a:pt x="3" y="6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2" name="Freeform 84"/>
                <p:cNvSpPr>
                  <a:spLocks noEditPoints="1"/>
                </p:cNvSpPr>
                <p:nvPr/>
              </p:nvSpPr>
              <p:spPr bwMode="auto">
                <a:xfrm>
                  <a:off x="6240400" y="6672961"/>
                  <a:ext cx="57150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3" name="Freeform 85"/>
                <p:cNvSpPr>
                  <a:spLocks noEditPoints="1"/>
                </p:cNvSpPr>
                <p:nvPr/>
              </p:nvSpPr>
              <p:spPr bwMode="auto">
                <a:xfrm>
                  <a:off x="6172137" y="6672961"/>
                  <a:ext cx="58738" cy="60325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7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4" name="Freeform 86"/>
                <p:cNvSpPr>
                  <a:spLocks noEditPoints="1"/>
                </p:cNvSpPr>
                <p:nvPr/>
              </p:nvSpPr>
              <p:spPr bwMode="auto">
                <a:xfrm>
                  <a:off x="6305487" y="6672961"/>
                  <a:ext cx="60325" cy="60325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7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5" name="Freeform 87"/>
                <p:cNvSpPr>
                  <a:spLocks noEditPoints="1"/>
                </p:cNvSpPr>
                <p:nvPr/>
              </p:nvSpPr>
              <p:spPr bwMode="auto">
                <a:xfrm>
                  <a:off x="6240400" y="6739636"/>
                  <a:ext cx="57150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6" name="Freeform 88"/>
                <p:cNvSpPr>
                  <a:spLocks noEditPoints="1"/>
                </p:cNvSpPr>
                <p:nvPr/>
              </p:nvSpPr>
              <p:spPr bwMode="auto">
                <a:xfrm>
                  <a:off x="6172137" y="6739636"/>
                  <a:ext cx="58738" cy="58738"/>
                </a:xfrm>
                <a:custGeom>
                  <a:avLst/>
                  <a:gdLst>
                    <a:gd name="T0" fmla="*/ 19 w 25"/>
                    <a:gd name="T1" fmla="*/ 0 h 26"/>
                    <a:gd name="T2" fmla="*/ 6 w 25"/>
                    <a:gd name="T3" fmla="*/ 0 h 26"/>
                    <a:gd name="T4" fmla="*/ 0 w 25"/>
                    <a:gd name="T5" fmla="*/ 7 h 26"/>
                    <a:gd name="T6" fmla="*/ 0 w 25"/>
                    <a:gd name="T7" fmla="*/ 19 h 26"/>
                    <a:gd name="T8" fmla="*/ 6 w 25"/>
                    <a:gd name="T9" fmla="*/ 26 h 26"/>
                    <a:gd name="T10" fmla="*/ 19 w 25"/>
                    <a:gd name="T11" fmla="*/ 26 h 26"/>
                    <a:gd name="T12" fmla="*/ 25 w 25"/>
                    <a:gd name="T13" fmla="*/ 19 h 26"/>
                    <a:gd name="T14" fmla="*/ 25 w 25"/>
                    <a:gd name="T15" fmla="*/ 7 h 26"/>
                    <a:gd name="T16" fmla="*/ 19 w 25"/>
                    <a:gd name="T17" fmla="*/ 0 h 26"/>
                    <a:gd name="T18" fmla="*/ 19 w 25"/>
                    <a:gd name="T19" fmla="*/ 19 h 26"/>
                    <a:gd name="T20" fmla="*/ 19 w 25"/>
                    <a:gd name="T21" fmla="*/ 19 h 26"/>
                    <a:gd name="T22" fmla="*/ 6 w 25"/>
                    <a:gd name="T23" fmla="*/ 19 h 26"/>
                    <a:gd name="T24" fmla="*/ 6 w 25"/>
                    <a:gd name="T25" fmla="*/ 6 h 26"/>
                    <a:gd name="T26" fmla="*/ 19 w 25"/>
                    <a:gd name="T27" fmla="*/ 7 h 26"/>
                    <a:gd name="T28" fmla="*/ 19 w 25"/>
                    <a:gd name="T29" fmla="*/ 19 h 26"/>
                    <a:gd name="T30" fmla="*/ 19 w 25"/>
                    <a:gd name="T31" fmla="*/ 19 h 26"/>
                    <a:gd name="T32" fmla="*/ 19 w 25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6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2" y="26"/>
                        <a:pt x="25" y="23"/>
                        <a:pt x="25" y="19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7"/>
                        <a:pt x="19" y="7"/>
                        <a:pt x="19" y="7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7" name="Freeform 89"/>
                <p:cNvSpPr>
                  <a:spLocks noEditPoints="1"/>
                </p:cNvSpPr>
                <p:nvPr/>
              </p:nvSpPr>
              <p:spPr bwMode="auto">
                <a:xfrm>
                  <a:off x="6305487" y="6739636"/>
                  <a:ext cx="60325" cy="58738"/>
                </a:xfrm>
                <a:custGeom>
                  <a:avLst/>
                  <a:gdLst>
                    <a:gd name="T0" fmla="*/ 19 w 26"/>
                    <a:gd name="T1" fmla="*/ 0 h 26"/>
                    <a:gd name="T2" fmla="*/ 7 w 26"/>
                    <a:gd name="T3" fmla="*/ 0 h 26"/>
                    <a:gd name="T4" fmla="*/ 0 w 26"/>
                    <a:gd name="T5" fmla="*/ 7 h 26"/>
                    <a:gd name="T6" fmla="*/ 0 w 26"/>
                    <a:gd name="T7" fmla="*/ 19 h 26"/>
                    <a:gd name="T8" fmla="*/ 7 w 26"/>
                    <a:gd name="T9" fmla="*/ 26 h 26"/>
                    <a:gd name="T10" fmla="*/ 19 w 26"/>
                    <a:gd name="T11" fmla="*/ 26 h 26"/>
                    <a:gd name="T12" fmla="*/ 26 w 26"/>
                    <a:gd name="T13" fmla="*/ 19 h 26"/>
                    <a:gd name="T14" fmla="*/ 26 w 26"/>
                    <a:gd name="T15" fmla="*/ 7 h 26"/>
                    <a:gd name="T16" fmla="*/ 19 w 26"/>
                    <a:gd name="T17" fmla="*/ 0 h 26"/>
                    <a:gd name="T18" fmla="*/ 20 w 26"/>
                    <a:gd name="T19" fmla="*/ 19 h 26"/>
                    <a:gd name="T20" fmla="*/ 19 w 26"/>
                    <a:gd name="T21" fmla="*/ 19 h 26"/>
                    <a:gd name="T22" fmla="*/ 7 w 26"/>
                    <a:gd name="T23" fmla="*/ 19 h 26"/>
                    <a:gd name="T24" fmla="*/ 7 w 26"/>
                    <a:gd name="T25" fmla="*/ 6 h 26"/>
                    <a:gd name="T26" fmla="*/ 20 w 26"/>
                    <a:gd name="T27" fmla="*/ 7 h 26"/>
                    <a:gd name="T28" fmla="*/ 20 w 26"/>
                    <a:gd name="T29" fmla="*/ 19 h 26"/>
                    <a:gd name="T30" fmla="*/ 20 w 26"/>
                    <a:gd name="T31" fmla="*/ 19 h 26"/>
                    <a:gd name="T32" fmla="*/ 20 w 26"/>
                    <a:gd name="T33" fmla="*/ 1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6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3"/>
                        <a:pt x="3" y="26"/>
                        <a:pt x="7" y="26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23" y="26"/>
                        <a:pt x="26" y="23"/>
                        <a:pt x="26" y="1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7"/>
                        <a:pt x="20" y="7"/>
                        <a:pt x="20" y="7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8" name="Freeform 90"/>
                <p:cNvSpPr>
                  <a:spLocks noEditPoints="1"/>
                </p:cNvSpPr>
                <p:nvPr/>
              </p:nvSpPr>
              <p:spPr bwMode="auto">
                <a:xfrm>
                  <a:off x="6240400" y="6806311"/>
                  <a:ext cx="57150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69" name="Freeform 91"/>
                <p:cNvSpPr>
                  <a:spLocks noEditPoints="1"/>
                </p:cNvSpPr>
                <p:nvPr/>
              </p:nvSpPr>
              <p:spPr bwMode="auto">
                <a:xfrm>
                  <a:off x="6172137" y="6806311"/>
                  <a:ext cx="58738" cy="57150"/>
                </a:xfrm>
                <a:custGeom>
                  <a:avLst/>
                  <a:gdLst>
                    <a:gd name="T0" fmla="*/ 19 w 25"/>
                    <a:gd name="T1" fmla="*/ 0 h 25"/>
                    <a:gd name="T2" fmla="*/ 6 w 25"/>
                    <a:gd name="T3" fmla="*/ 0 h 25"/>
                    <a:gd name="T4" fmla="*/ 0 w 25"/>
                    <a:gd name="T5" fmla="*/ 6 h 25"/>
                    <a:gd name="T6" fmla="*/ 0 w 25"/>
                    <a:gd name="T7" fmla="*/ 19 h 25"/>
                    <a:gd name="T8" fmla="*/ 6 w 25"/>
                    <a:gd name="T9" fmla="*/ 25 h 25"/>
                    <a:gd name="T10" fmla="*/ 19 w 25"/>
                    <a:gd name="T11" fmla="*/ 25 h 25"/>
                    <a:gd name="T12" fmla="*/ 25 w 25"/>
                    <a:gd name="T13" fmla="*/ 19 h 25"/>
                    <a:gd name="T14" fmla="*/ 25 w 25"/>
                    <a:gd name="T15" fmla="*/ 6 h 25"/>
                    <a:gd name="T16" fmla="*/ 19 w 25"/>
                    <a:gd name="T17" fmla="*/ 0 h 25"/>
                    <a:gd name="T18" fmla="*/ 19 w 25"/>
                    <a:gd name="T19" fmla="*/ 19 h 25"/>
                    <a:gd name="T20" fmla="*/ 19 w 25"/>
                    <a:gd name="T21" fmla="*/ 19 h 25"/>
                    <a:gd name="T22" fmla="*/ 6 w 25"/>
                    <a:gd name="T23" fmla="*/ 19 h 25"/>
                    <a:gd name="T24" fmla="*/ 6 w 25"/>
                    <a:gd name="T25" fmla="*/ 6 h 25"/>
                    <a:gd name="T26" fmla="*/ 19 w 25"/>
                    <a:gd name="T27" fmla="*/ 6 h 25"/>
                    <a:gd name="T28" fmla="*/ 19 w 25"/>
                    <a:gd name="T29" fmla="*/ 19 h 25"/>
                    <a:gd name="T30" fmla="*/ 19 w 25"/>
                    <a:gd name="T31" fmla="*/ 19 h 25"/>
                    <a:gd name="T32" fmla="*/ 19 w 25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5">
                      <a:moveTo>
                        <a:pt x="19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6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2" y="25"/>
                        <a:pt x="25" y="22"/>
                        <a:pt x="25" y="1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3"/>
                        <a:pt x="22" y="0"/>
                        <a:pt x="19" y="0"/>
                      </a:cubicBez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6" y="6"/>
                        <a:pt x="6" y="6"/>
                        <a:pt x="6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lnTo>
                        <a:pt x="19" y="19"/>
                      </a:lnTo>
                      <a:close/>
                      <a:moveTo>
                        <a:pt x="19" y="19"/>
                      </a:moveTo>
                      <a:cubicBezTo>
                        <a:pt x="19" y="19"/>
                        <a:pt x="19" y="19"/>
                        <a:pt x="19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  <p:sp>
              <p:nvSpPr>
                <p:cNvPr id="270" name="Freeform 92"/>
                <p:cNvSpPr>
                  <a:spLocks noEditPoints="1"/>
                </p:cNvSpPr>
                <p:nvPr/>
              </p:nvSpPr>
              <p:spPr bwMode="auto">
                <a:xfrm>
                  <a:off x="6305487" y="6806311"/>
                  <a:ext cx="60325" cy="57150"/>
                </a:xfrm>
                <a:custGeom>
                  <a:avLst/>
                  <a:gdLst>
                    <a:gd name="T0" fmla="*/ 19 w 26"/>
                    <a:gd name="T1" fmla="*/ 0 h 25"/>
                    <a:gd name="T2" fmla="*/ 7 w 26"/>
                    <a:gd name="T3" fmla="*/ 0 h 25"/>
                    <a:gd name="T4" fmla="*/ 0 w 26"/>
                    <a:gd name="T5" fmla="*/ 6 h 25"/>
                    <a:gd name="T6" fmla="*/ 0 w 26"/>
                    <a:gd name="T7" fmla="*/ 19 h 25"/>
                    <a:gd name="T8" fmla="*/ 7 w 26"/>
                    <a:gd name="T9" fmla="*/ 25 h 25"/>
                    <a:gd name="T10" fmla="*/ 19 w 26"/>
                    <a:gd name="T11" fmla="*/ 25 h 25"/>
                    <a:gd name="T12" fmla="*/ 26 w 26"/>
                    <a:gd name="T13" fmla="*/ 19 h 25"/>
                    <a:gd name="T14" fmla="*/ 26 w 26"/>
                    <a:gd name="T15" fmla="*/ 6 h 25"/>
                    <a:gd name="T16" fmla="*/ 19 w 26"/>
                    <a:gd name="T17" fmla="*/ 0 h 25"/>
                    <a:gd name="T18" fmla="*/ 20 w 26"/>
                    <a:gd name="T19" fmla="*/ 19 h 25"/>
                    <a:gd name="T20" fmla="*/ 19 w 26"/>
                    <a:gd name="T21" fmla="*/ 19 h 25"/>
                    <a:gd name="T22" fmla="*/ 7 w 26"/>
                    <a:gd name="T23" fmla="*/ 19 h 25"/>
                    <a:gd name="T24" fmla="*/ 7 w 26"/>
                    <a:gd name="T25" fmla="*/ 6 h 25"/>
                    <a:gd name="T26" fmla="*/ 20 w 26"/>
                    <a:gd name="T27" fmla="*/ 6 h 25"/>
                    <a:gd name="T28" fmla="*/ 20 w 26"/>
                    <a:gd name="T29" fmla="*/ 19 h 25"/>
                    <a:gd name="T30" fmla="*/ 20 w 26"/>
                    <a:gd name="T31" fmla="*/ 19 h 25"/>
                    <a:gd name="T32" fmla="*/ 20 w 26"/>
                    <a:gd name="T33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" h="25">
                      <a:moveTo>
                        <a:pt x="19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3" y="25"/>
                        <a:pt x="7" y="25"/>
                      </a:cubicBez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23" y="25"/>
                        <a:pt x="26" y="22"/>
                        <a:pt x="26" y="19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3" y="0"/>
                        <a:pt x="19" y="0"/>
                      </a:cubicBez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19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lnTo>
                        <a:pt x="20" y="19"/>
                      </a:lnTo>
                      <a:close/>
                      <a:moveTo>
                        <a:pt x="20" y="19"/>
                      </a:moveTo>
                      <a:cubicBezTo>
                        <a:pt x="20" y="19"/>
                        <a:pt x="20" y="19"/>
                        <a:pt x="20" y="19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00" dirty="0"/>
                </a:p>
              </p:txBody>
            </p:sp>
          </p:grpSp>
          <p:sp>
            <p:nvSpPr>
              <p:cNvPr id="332" name="TextBox 331"/>
              <p:cNvSpPr txBox="1"/>
              <p:nvPr/>
            </p:nvSpPr>
            <p:spPr>
              <a:xfrm>
                <a:off x="2017912" y="2515912"/>
                <a:ext cx="47979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Mobile Buss.</a:t>
                </a:r>
                <a:br>
                  <a:rPr lang="en-US" sz="600" dirty="0">
                    <a:solidFill>
                      <a:schemeClr val="tx2"/>
                    </a:solidFill>
                    <a:latin typeface="+mj-lt"/>
                  </a:rPr>
                </a:b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Enablement</a:t>
                </a:r>
              </a:p>
            </p:txBody>
          </p:sp>
        </p:grpSp>
      </p:grpSp>
      <p:grpSp>
        <p:nvGrpSpPr>
          <p:cNvPr id="374" name="Group 373"/>
          <p:cNvGrpSpPr/>
          <p:nvPr/>
        </p:nvGrpSpPr>
        <p:grpSpPr>
          <a:xfrm>
            <a:off x="6100917" y="928603"/>
            <a:ext cx="512615" cy="512615"/>
            <a:chOff x="3199172" y="1225055"/>
            <a:chExt cx="502920" cy="502920"/>
          </a:xfrm>
        </p:grpSpPr>
        <p:sp>
          <p:nvSpPr>
            <p:cNvPr id="99" name="Oval 98"/>
            <p:cNvSpPr/>
            <p:nvPr/>
          </p:nvSpPr>
          <p:spPr>
            <a:xfrm>
              <a:off x="3199172" y="1225055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3375807" y="1286550"/>
              <a:ext cx="149650" cy="194140"/>
              <a:chOff x="-744538" y="7759700"/>
              <a:chExt cx="411163" cy="533400"/>
            </a:xfrm>
            <a:solidFill>
              <a:schemeClr val="tx2"/>
            </a:solidFill>
          </p:grpSpPr>
          <p:sp>
            <p:nvSpPr>
              <p:cNvPr id="132" name="Oval 96"/>
              <p:cNvSpPr>
                <a:spLocks noChangeArrowheads="1"/>
              </p:cNvSpPr>
              <p:nvPr/>
            </p:nvSpPr>
            <p:spPr bwMode="auto">
              <a:xfrm>
                <a:off x="-554038" y="7805738"/>
                <a:ext cx="30163" cy="301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  <p:sp>
            <p:nvSpPr>
              <p:cNvPr id="133" name="Freeform 97"/>
              <p:cNvSpPr>
                <a:spLocks noEditPoints="1"/>
              </p:cNvSpPr>
              <p:nvPr/>
            </p:nvSpPr>
            <p:spPr bwMode="auto">
              <a:xfrm>
                <a:off x="-744538" y="7759700"/>
                <a:ext cx="411163" cy="533400"/>
              </a:xfrm>
              <a:custGeom>
                <a:avLst/>
                <a:gdLst>
                  <a:gd name="T0" fmla="*/ 1280 w 1280"/>
                  <a:gd name="T1" fmla="*/ 384 h 1664"/>
                  <a:gd name="T2" fmla="*/ 1152 w 1280"/>
                  <a:gd name="T3" fmla="*/ 256 h 1664"/>
                  <a:gd name="T4" fmla="*/ 974 w 1280"/>
                  <a:gd name="T5" fmla="*/ 256 h 1664"/>
                  <a:gd name="T6" fmla="*/ 885 w 1280"/>
                  <a:gd name="T7" fmla="*/ 199 h 1664"/>
                  <a:gd name="T8" fmla="*/ 825 w 1280"/>
                  <a:gd name="T9" fmla="*/ 139 h 1664"/>
                  <a:gd name="T10" fmla="*/ 640 w 1280"/>
                  <a:gd name="T11" fmla="*/ 0 h 1664"/>
                  <a:gd name="T12" fmla="*/ 455 w 1280"/>
                  <a:gd name="T13" fmla="*/ 139 h 1664"/>
                  <a:gd name="T14" fmla="*/ 395 w 1280"/>
                  <a:gd name="T15" fmla="*/ 199 h 1664"/>
                  <a:gd name="T16" fmla="*/ 306 w 1280"/>
                  <a:gd name="T17" fmla="*/ 256 h 1664"/>
                  <a:gd name="T18" fmla="*/ 128 w 1280"/>
                  <a:gd name="T19" fmla="*/ 256 h 1664"/>
                  <a:gd name="T20" fmla="*/ 0 w 1280"/>
                  <a:gd name="T21" fmla="*/ 384 h 1664"/>
                  <a:gd name="T22" fmla="*/ 0 w 1280"/>
                  <a:gd name="T23" fmla="*/ 1536 h 1664"/>
                  <a:gd name="T24" fmla="*/ 128 w 1280"/>
                  <a:gd name="T25" fmla="*/ 1664 h 1664"/>
                  <a:gd name="T26" fmla="*/ 1152 w 1280"/>
                  <a:gd name="T27" fmla="*/ 1664 h 1664"/>
                  <a:gd name="T28" fmla="*/ 1280 w 1280"/>
                  <a:gd name="T29" fmla="*/ 1536 h 1664"/>
                  <a:gd name="T30" fmla="*/ 1280 w 1280"/>
                  <a:gd name="T31" fmla="*/ 384 h 1664"/>
                  <a:gd name="T32" fmla="*/ 320 w 1280"/>
                  <a:gd name="T33" fmla="*/ 383 h 1664"/>
                  <a:gd name="T34" fmla="*/ 412 w 1280"/>
                  <a:gd name="T35" fmla="*/ 261 h 1664"/>
                  <a:gd name="T36" fmla="*/ 517 w 1280"/>
                  <a:gd name="T37" fmla="*/ 157 h 1664"/>
                  <a:gd name="T38" fmla="*/ 640 w 1280"/>
                  <a:gd name="T39" fmla="*/ 64 h 1664"/>
                  <a:gd name="T40" fmla="*/ 763 w 1280"/>
                  <a:gd name="T41" fmla="*/ 157 h 1664"/>
                  <a:gd name="T42" fmla="*/ 867 w 1280"/>
                  <a:gd name="T43" fmla="*/ 261 h 1664"/>
                  <a:gd name="T44" fmla="*/ 960 w 1280"/>
                  <a:gd name="T45" fmla="*/ 384 h 1664"/>
                  <a:gd name="T46" fmla="*/ 960 w 1280"/>
                  <a:gd name="T47" fmla="*/ 448 h 1664"/>
                  <a:gd name="T48" fmla="*/ 320 w 1280"/>
                  <a:gd name="T49" fmla="*/ 448 h 1664"/>
                  <a:gd name="T50" fmla="*/ 320 w 1280"/>
                  <a:gd name="T51" fmla="*/ 383 h 1664"/>
                  <a:gd name="T52" fmla="*/ 1152 w 1280"/>
                  <a:gd name="T53" fmla="*/ 1600 h 1664"/>
                  <a:gd name="T54" fmla="*/ 128 w 1280"/>
                  <a:gd name="T55" fmla="*/ 1600 h 1664"/>
                  <a:gd name="T56" fmla="*/ 64 w 1280"/>
                  <a:gd name="T57" fmla="*/ 1536 h 1664"/>
                  <a:gd name="T58" fmla="*/ 64 w 1280"/>
                  <a:gd name="T59" fmla="*/ 384 h 1664"/>
                  <a:gd name="T60" fmla="*/ 128 w 1280"/>
                  <a:gd name="T61" fmla="*/ 320 h 1664"/>
                  <a:gd name="T62" fmla="*/ 267 w 1280"/>
                  <a:gd name="T63" fmla="*/ 320 h 1664"/>
                  <a:gd name="T64" fmla="*/ 256 w 1280"/>
                  <a:gd name="T65" fmla="*/ 382 h 1664"/>
                  <a:gd name="T66" fmla="*/ 256 w 1280"/>
                  <a:gd name="T67" fmla="*/ 512 h 1664"/>
                  <a:gd name="T68" fmla="*/ 1024 w 1280"/>
                  <a:gd name="T69" fmla="*/ 512 h 1664"/>
                  <a:gd name="T70" fmla="*/ 1024 w 1280"/>
                  <a:gd name="T71" fmla="*/ 384 h 1664"/>
                  <a:gd name="T72" fmla="*/ 1013 w 1280"/>
                  <a:gd name="T73" fmla="*/ 320 h 1664"/>
                  <a:gd name="T74" fmla="*/ 1152 w 1280"/>
                  <a:gd name="T75" fmla="*/ 320 h 1664"/>
                  <a:gd name="T76" fmla="*/ 1216 w 1280"/>
                  <a:gd name="T77" fmla="*/ 384 h 1664"/>
                  <a:gd name="T78" fmla="*/ 1216 w 1280"/>
                  <a:gd name="T79" fmla="*/ 1536 h 1664"/>
                  <a:gd name="T80" fmla="*/ 1152 w 1280"/>
                  <a:gd name="T81" fmla="*/ 1600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80" h="1664">
                    <a:moveTo>
                      <a:pt x="1280" y="384"/>
                    </a:moveTo>
                    <a:cubicBezTo>
                      <a:pt x="1280" y="313"/>
                      <a:pt x="1223" y="256"/>
                      <a:pt x="1152" y="256"/>
                    </a:cubicBezTo>
                    <a:cubicBezTo>
                      <a:pt x="974" y="256"/>
                      <a:pt x="974" y="256"/>
                      <a:pt x="974" y="256"/>
                    </a:cubicBezTo>
                    <a:cubicBezTo>
                      <a:pt x="951" y="230"/>
                      <a:pt x="920" y="210"/>
                      <a:pt x="885" y="199"/>
                    </a:cubicBezTo>
                    <a:cubicBezTo>
                      <a:pt x="856" y="191"/>
                      <a:pt x="833" y="168"/>
                      <a:pt x="825" y="139"/>
                    </a:cubicBezTo>
                    <a:cubicBezTo>
                      <a:pt x="801" y="59"/>
                      <a:pt x="728" y="0"/>
                      <a:pt x="640" y="0"/>
                    </a:cubicBezTo>
                    <a:cubicBezTo>
                      <a:pt x="552" y="0"/>
                      <a:pt x="479" y="59"/>
                      <a:pt x="455" y="139"/>
                    </a:cubicBezTo>
                    <a:cubicBezTo>
                      <a:pt x="447" y="168"/>
                      <a:pt x="424" y="191"/>
                      <a:pt x="395" y="199"/>
                    </a:cubicBezTo>
                    <a:cubicBezTo>
                      <a:pt x="360" y="210"/>
                      <a:pt x="329" y="230"/>
                      <a:pt x="306" y="256"/>
                    </a:cubicBezTo>
                    <a:cubicBezTo>
                      <a:pt x="128" y="256"/>
                      <a:pt x="128" y="256"/>
                      <a:pt x="128" y="256"/>
                    </a:cubicBezTo>
                    <a:cubicBezTo>
                      <a:pt x="57" y="256"/>
                      <a:pt x="0" y="313"/>
                      <a:pt x="0" y="384"/>
                    </a:cubicBezTo>
                    <a:cubicBezTo>
                      <a:pt x="0" y="1536"/>
                      <a:pt x="0" y="1536"/>
                      <a:pt x="0" y="1536"/>
                    </a:cubicBezTo>
                    <a:cubicBezTo>
                      <a:pt x="0" y="1607"/>
                      <a:pt x="57" y="1664"/>
                      <a:pt x="128" y="1664"/>
                    </a:cubicBezTo>
                    <a:cubicBezTo>
                      <a:pt x="422" y="1664"/>
                      <a:pt x="783" y="1664"/>
                      <a:pt x="1152" y="1664"/>
                    </a:cubicBezTo>
                    <a:cubicBezTo>
                      <a:pt x="1223" y="1664"/>
                      <a:pt x="1280" y="1607"/>
                      <a:pt x="1280" y="1536"/>
                    </a:cubicBezTo>
                    <a:cubicBezTo>
                      <a:pt x="1280" y="1172"/>
                      <a:pt x="1280" y="824"/>
                      <a:pt x="1280" y="384"/>
                    </a:cubicBezTo>
                    <a:close/>
                    <a:moveTo>
                      <a:pt x="320" y="383"/>
                    </a:moveTo>
                    <a:cubicBezTo>
                      <a:pt x="320" y="327"/>
                      <a:pt x="358" y="277"/>
                      <a:pt x="412" y="261"/>
                    </a:cubicBezTo>
                    <a:cubicBezTo>
                      <a:pt x="463" y="246"/>
                      <a:pt x="502" y="207"/>
                      <a:pt x="517" y="157"/>
                    </a:cubicBezTo>
                    <a:cubicBezTo>
                      <a:pt x="533" y="102"/>
                      <a:pt x="583" y="64"/>
                      <a:pt x="640" y="64"/>
                    </a:cubicBezTo>
                    <a:cubicBezTo>
                      <a:pt x="697" y="64"/>
                      <a:pt x="747" y="102"/>
                      <a:pt x="763" y="157"/>
                    </a:cubicBezTo>
                    <a:cubicBezTo>
                      <a:pt x="778" y="207"/>
                      <a:pt x="817" y="246"/>
                      <a:pt x="867" y="261"/>
                    </a:cubicBezTo>
                    <a:cubicBezTo>
                      <a:pt x="922" y="277"/>
                      <a:pt x="960" y="327"/>
                      <a:pt x="960" y="384"/>
                    </a:cubicBezTo>
                    <a:cubicBezTo>
                      <a:pt x="960" y="448"/>
                      <a:pt x="960" y="448"/>
                      <a:pt x="960" y="448"/>
                    </a:cubicBezTo>
                    <a:cubicBezTo>
                      <a:pt x="320" y="448"/>
                      <a:pt x="320" y="448"/>
                      <a:pt x="320" y="448"/>
                    </a:cubicBezTo>
                    <a:lnTo>
                      <a:pt x="320" y="383"/>
                    </a:lnTo>
                    <a:close/>
                    <a:moveTo>
                      <a:pt x="1152" y="1600"/>
                    </a:moveTo>
                    <a:cubicBezTo>
                      <a:pt x="810" y="1600"/>
                      <a:pt x="469" y="1600"/>
                      <a:pt x="128" y="1600"/>
                    </a:cubicBezTo>
                    <a:cubicBezTo>
                      <a:pt x="93" y="1600"/>
                      <a:pt x="64" y="1571"/>
                      <a:pt x="64" y="1536"/>
                    </a:cubicBezTo>
                    <a:cubicBezTo>
                      <a:pt x="64" y="384"/>
                      <a:pt x="64" y="384"/>
                      <a:pt x="64" y="384"/>
                    </a:cubicBezTo>
                    <a:cubicBezTo>
                      <a:pt x="64" y="349"/>
                      <a:pt x="93" y="320"/>
                      <a:pt x="128" y="320"/>
                    </a:cubicBezTo>
                    <a:cubicBezTo>
                      <a:pt x="267" y="320"/>
                      <a:pt x="267" y="320"/>
                      <a:pt x="267" y="320"/>
                    </a:cubicBezTo>
                    <a:cubicBezTo>
                      <a:pt x="260" y="340"/>
                      <a:pt x="256" y="361"/>
                      <a:pt x="256" y="382"/>
                    </a:cubicBezTo>
                    <a:cubicBezTo>
                      <a:pt x="256" y="512"/>
                      <a:pt x="256" y="512"/>
                      <a:pt x="256" y="512"/>
                    </a:cubicBezTo>
                    <a:cubicBezTo>
                      <a:pt x="1024" y="512"/>
                      <a:pt x="1024" y="512"/>
                      <a:pt x="1024" y="512"/>
                    </a:cubicBezTo>
                    <a:cubicBezTo>
                      <a:pt x="1024" y="384"/>
                      <a:pt x="1024" y="384"/>
                      <a:pt x="1024" y="384"/>
                    </a:cubicBezTo>
                    <a:cubicBezTo>
                      <a:pt x="1024" y="362"/>
                      <a:pt x="1020" y="340"/>
                      <a:pt x="1013" y="320"/>
                    </a:cubicBezTo>
                    <a:cubicBezTo>
                      <a:pt x="1152" y="320"/>
                      <a:pt x="1152" y="320"/>
                      <a:pt x="1152" y="320"/>
                    </a:cubicBezTo>
                    <a:cubicBezTo>
                      <a:pt x="1187" y="320"/>
                      <a:pt x="1216" y="349"/>
                      <a:pt x="1216" y="384"/>
                    </a:cubicBezTo>
                    <a:cubicBezTo>
                      <a:pt x="1216" y="567"/>
                      <a:pt x="1216" y="1425"/>
                      <a:pt x="1216" y="1536"/>
                    </a:cubicBezTo>
                    <a:cubicBezTo>
                      <a:pt x="1216" y="1571"/>
                      <a:pt x="1187" y="1600"/>
                      <a:pt x="1152" y="16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  <p:sp>
            <p:nvSpPr>
              <p:cNvPr id="134" name="Freeform 98"/>
              <p:cNvSpPr>
                <a:spLocks/>
              </p:cNvSpPr>
              <p:nvPr/>
            </p:nvSpPr>
            <p:spPr bwMode="auto">
              <a:xfrm>
                <a:off x="-646113" y="8008938"/>
                <a:ext cx="206375" cy="152400"/>
              </a:xfrm>
              <a:custGeom>
                <a:avLst/>
                <a:gdLst>
                  <a:gd name="T0" fmla="*/ 43 w 130"/>
                  <a:gd name="T1" fmla="*/ 78 h 96"/>
                  <a:gd name="T2" fmla="*/ 9 w 130"/>
                  <a:gd name="T3" fmla="*/ 43 h 96"/>
                  <a:gd name="T4" fmla="*/ 0 w 130"/>
                  <a:gd name="T5" fmla="*/ 53 h 96"/>
                  <a:gd name="T6" fmla="*/ 43 w 130"/>
                  <a:gd name="T7" fmla="*/ 96 h 96"/>
                  <a:gd name="T8" fmla="*/ 130 w 130"/>
                  <a:gd name="T9" fmla="*/ 9 h 96"/>
                  <a:gd name="T10" fmla="*/ 121 w 130"/>
                  <a:gd name="T11" fmla="*/ 0 h 96"/>
                  <a:gd name="T12" fmla="*/ 43 w 130"/>
                  <a:gd name="T13" fmla="*/ 7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43" y="78"/>
                    </a:moveTo>
                    <a:lnTo>
                      <a:pt x="9" y="43"/>
                    </a:lnTo>
                    <a:lnTo>
                      <a:pt x="0" y="53"/>
                    </a:lnTo>
                    <a:lnTo>
                      <a:pt x="43" y="96"/>
                    </a:lnTo>
                    <a:lnTo>
                      <a:pt x="130" y="9"/>
                    </a:lnTo>
                    <a:lnTo>
                      <a:pt x="121" y="0"/>
                    </a:lnTo>
                    <a:lnTo>
                      <a:pt x="43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/>
              </a:p>
            </p:txBody>
          </p:sp>
        </p:grpSp>
        <p:sp>
          <p:nvSpPr>
            <p:cNvPr id="355" name="TextBox 354"/>
            <p:cNvSpPr txBox="1"/>
            <p:nvPr/>
          </p:nvSpPr>
          <p:spPr>
            <a:xfrm>
              <a:off x="3293538" y="1488314"/>
              <a:ext cx="31418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dirty="0">
                  <a:latin typeface="+mj-lt"/>
                </a:rPr>
                <a:t>Aunthen-</a:t>
              </a:r>
              <a:br>
                <a:rPr lang="en-US" sz="600" dirty="0">
                  <a:latin typeface="+mj-lt"/>
                </a:rPr>
              </a:br>
              <a:r>
                <a:rPr lang="en-US" sz="600" dirty="0">
                  <a:latin typeface="+mj-lt"/>
                </a:rPr>
                <a:t>tication</a:t>
              </a:r>
            </a:p>
          </p:txBody>
        </p:sp>
      </p:grpSp>
      <p:grpSp>
        <p:nvGrpSpPr>
          <p:cNvPr id="376" name="Group 375"/>
          <p:cNvGrpSpPr/>
          <p:nvPr/>
        </p:nvGrpSpPr>
        <p:grpSpPr>
          <a:xfrm>
            <a:off x="7034635" y="1736383"/>
            <a:ext cx="512615" cy="512615"/>
            <a:chOff x="3995835" y="1870681"/>
            <a:chExt cx="502920" cy="502920"/>
          </a:xfrm>
        </p:grpSpPr>
        <p:sp>
          <p:nvSpPr>
            <p:cNvPr id="109" name="Oval 108"/>
            <p:cNvSpPr/>
            <p:nvPr/>
          </p:nvSpPr>
          <p:spPr>
            <a:xfrm>
              <a:off x="3995835" y="1870681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5" name="Group 374"/>
            <p:cNvGrpSpPr/>
            <p:nvPr/>
          </p:nvGrpSpPr>
          <p:grpSpPr>
            <a:xfrm>
              <a:off x="4055737" y="1925666"/>
              <a:ext cx="383117" cy="353104"/>
              <a:chOff x="4055737" y="1925666"/>
              <a:chExt cx="383117" cy="353104"/>
            </a:xfrm>
          </p:grpSpPr>
          <p:grpSp>
            <p:nvGrpSpPr>
              <p:cNvPr id="135" name="Group 134"/>
              <p:cNvGrpSpPr/>
              <p:nvPr/>
            </p:nvGrpSpPr>
            <p:grpSpPr>
              <a:xfrm>
                <a:off x="4165274" y="1925666"/>
                <a:ext cx="164042" cy="169567"/>
                <a:chOff x="-808038" y="6683375"/>
                <a:chExt cx="612775" cy="633413"/>
              </a:xfrm>
              <a:solidFill>
                <a:schemeClr val="tx2"/>
              </a:solidFill>
            </p:grpSpPr>
            <p:sp>
              <p:nvSpPr>
                <p:cNvPr id="136" name="Freeform 102"/>
                <p:cNvSpPr>
                  <a:spLocks noEditPoints="1"/>
                </p:cNvSpPr>
                <p:nvPr/>
              </p:nvSpPr>
              <p:spPr bwMode="auto">
                <a:xfrm>
                  <a:off x="-808038" y="6683375"/>
                  <a:ext cx="434975" cy="633413"/>
                </a:xfrm>
                <a:custGeom>
                  <a:avLst/>
                  <a:gdLst>
                    <a:gd name="T0" fmla="*/ 635 w 659"/>
                    <a:gd name="T1" fmla="*/ 662 h 962"/>
                    <a:gd name="T2" fmla="*/ 611 w 659"/>
                    <a:gd name="T3" fmla="*/ 686 h 962"/>
                    <a:gd name="T4" fmla="*/ 611 w 659"/>
                    <a:gd name="T5" fmla="*/ 822 h 962"/>
                    <a:gd name="T6" fmla="*/ 519 w 659"/>
                    <a:gd name="T7" fmla="*/ 914 h 962"/>
                    <a:gd name="T8" fmla="*/ 140 w 659"/>
                    <a:gd name="T9" fmla="*/ 914 h 962"/>
                    <a:gd name="T10" fmla="*/ 48 w 659"/>
                    <a:gd name="T11" fmla="*/ 822 h 962"/>
                    <a:gd name="T12" fmla="*/ 48 w 659"/>
                    <a:gd name="T13" fmla="*/ 140 h 962"/>
                    <a:gd name="T14" fmla="*/ 140 w 659"/>
                    <a:gd name="T15" fmla="*/ 48 h 962"/>
                    <a:gd name="T16" fmla="*/ 519 w 659"/>
                    <a:gd name="T17" fmla="*/ 48 h 962"/>
                    <a:gd name="T18" fmla="*/ 611 w 659"/>
                    <a:gd name="T19" fmla="*/ 140 h 962"/>
                    <a:gd name="T20" fmla="*/ 635 w 659"/>
                    <a:gd name="T21" fmla="*/ 164 h 962"/>
                    <a:gd name="T22" fmla="*/ 659 w 659"/>
                    <a:gd name="T23" fmla="*/ 140 h 962"/>
                    <a:gd name="T24" fmla="*/ 519 w 659"/>
                    <a:gd name="T25" fmla="*/ 0 h 962"/>
                    <a:gd name="T26" fmla="*/ 140 w 659"/>
                    <a:gd name="T27" fmla="*/ 0 h 962"/>
                    <a:gd name="T28" fmla="*/ 0 w 659"/>
                    <a:gd name="T29" fmla="*/ 140 h 962"/>
                    <a:gd name="T30" fmla="*/ 0 w 659"/>
                    <a:gd name="T31" fmla="*/ 822 h 962"/>
                    <a:gd name="T32" fmla="*/ 140 w 659"/>
                    <a:gd name="T33" fmla="*/ 962 h 962"/>
                    <a:gd name="T34" fmla="*/ 519 w 659"/>
                    <a:gd name="T35" fmla="*/ 962 h 962"/>
                    <a:gd name="T36" fmla="*/ 659 w 659"/>
                    <a:gd name="T37" fmla="*/ 822 h 962"/>
                    <a:gd name="T38" fmla="*/ 659 w 659"/>
                    <a:gd name="T39" fmla="*/ 686 h 962"/>
                    <a:gd name="T40" fmla="*/ 635 w 659"/>
                    <a:gd name="T41" fmla="*/ 662 h 962"/>
                    <a:gd name="T42" fmla="*/ 635 w 659"/>
                    <a:gd name="T43" fmla="*/ 662 h 962"/>
                    <a:gd name="T44" fmla="*/ 635 w 659"/>
                    <a:gd name="T45" fmla="*/ 662 h 9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9" h="962">
                      <a:moveTo>
                        <a:pt x="635" y="662"/>
                      </a:moveTo>
                      <a:cubicBezTo>
                        <a:pt x="622" y="662"/>
                        <a:pt x="611" y="673"/>
                        <a:pt x="611" y="686"/>
                      </a:cubicBezTo>
                      <a:cubicBezTo>
                        <a:pt x="611" y="822"/>
                        <a:pt x="611" y="822"/>
                        <a:pt x="611" y="822"/>
                      </a:cubicBezTo>
                      <a:cubicBezTo>
                        <a:pt x="611" y="873"/>
                        <a:pt x="570" y="914"/>
                        <a:pt x="519" y="914"/>
                      </a:cubicBezTo>
                      <a:cubicBezTo>
                        <a:pt x="140" y="914"/>
                        <a:pt x="140" y="914"/>
                        <a:pt x="140" y="914"/>
                      </a:cubicBezTo>
                      <a:cubicBezTo>
                        <a:pt x="89" y="914"/>
                        <a:pt x="48" y="873"/>
                        <a:pt x="48" y="822"/>
                      </a:cubicBezTo>
                      <a:cubicBezTo>
                        <a:pt x="48" y="140"/>
                        <a:pt x="48" y="140"/>
                        <a:pt x="48" y="140"/>
                      </a:cubicBezTo>
                      <a:cubicBezTo>
                        <a:pt x="48" y="89"/>
                        <a:pt x="89" y="48"/>
                        <a:pt x="140" y="48"/>
                      </a:cubicBezTo>
                      <a:cubicBezTo>
                        <a:pt x="519" y="48"/>
                        <a:pt x="519" y="48"/>
                        <a:pt x="519" y="48"/>
                      </a:cubicBezTo>
                      <a:cubicBezTo>
                        <a:pt x="570" y="48"/>
                        <a:pt x="611" y="89"/>
                        <a:pt x="611" y="140"/>
                      </a:cubicBezTo>
                      <a:cubicBezTo>
                        <a:pt x="611" y="153"/>
                        <a:pt x="622" y="164"/>
                        <a:pt x="635" y="164"/>
                      </a:cubicBezTo>
                      <a:cubicBezTo>
                        <a:pt x="648" y="164"/>
                        <a:pt x="659" y="153"/>
                        <a:pt x="659" y="140"/>
                      </a:cubicBezTo>
                      <a:cubicBezTo>
                        <a:pt x="659" y="63"/>
                        <a:pt x="596" y="0"/>
                        <a:pt x="519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63" y="0"/>
                        <a:pt x="0" y="63"/>
                        <a:pt x="0" y="140"/>
                      </a:cubicBezTo>
                      <a:cubicBezTo>
                        <a:pt x="0" y="822"/>
                        <a:pt x="0" y="822"/>
                        <a:pt x="0" y="822"/>
                      </a:cubicBezTo>
                      <a:cubicBezTo>
                        <a:pt x="0" y="899"/>
                        <a:pt x="63" y="962"/>
                        <a:pt x="140" y="962"/>
                      </a:cubicBezTo>
                      <a:cubicBezTo>
                        <a:pt x="519" y="962"/>
                        <a:pt x="519" y="962"/>
                        <a:pt x="519" y="962"/>
                      </a:cubicBezTo>
                      <a:cubicBezTo>
                        <a:pt x="596" y="962"/>
                        <a:pt x="659" y="899"/>
                        <a:pt x="659" y="822"/>
                      </a:cubicBezTo>
                      <a:cubicBezTo>
                        <a:pt x="659" y="686"/>
                        <a:pt x="659" y="686"/>
                        <a:pt x="659" y="686"/>
                      </a:cubicBezTo>
                      <a:cubicBezTo>
                        <a:pt x="659" y="673"/>
                        <a:pt x="648" y="662"/>
                        <a:pt x="635" y="662"/>
                      </a:cubicBezTo>
                      <a:close/>
                      <a:moveTo>
                        <a:pt x="635" y="662"/>
                      </a:moveTo>
                      <a:cubicBezTo>
                        <a:pt x="635" y="662"/>
                        <a:pt x="635" y="662"/>
                        <a:pt x="635" y="66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103"/>
                <p:cNvSpPr>
                  <a:spLocks noEditPoints="1"/>
                </p:cNvSpPr>
                <p:nvPr/>
              </p:nvSpPr>
              <p:spPr bwMode="auto">
                <a:xfrm>
                  <a:off x="-754063" y="6754813"/>
                  <a:ext cx="328613" cy="442913"/>
                </a:xfrm>
                <a:custGeom>
                  <a:avLst/>
                  <a:gdLst>
                    <a:gd name="T0" fmla="*/ 475 w 499"/>
                    <a:gd name="T1" fmla="*/ 48 h 672"/>
                    <a:gd name="T2" fmla="*/ 499 w 499"/>
                    <a:gd name="T3" fmla="*/ 24 h 672"/>
                    <a:gd name="T4" fmla="*/ 475 w 499"/>
                    <a:gd name="T5" fmla="*/ 0 h 672"/>
                    <a:gd name="T6" fmla="*/ 24 w 499"/>
                    <a:gd name="T7" fmla="*/ 0 h 672"/>
                    <a:gd name="T8" fmla="*/ 0 w 499"/>
                    <a:gd name="T9" fmla="*/ 24 h 672"/>
                    <a:gd name="T10" fmla="*/ 0 w 499"/>
                    <a:gd name="T11" fmla="*/ 648 h 672"/>
                    <a:gd name="T12" fmla="*/ 24 w 499"/>
                    <a:gd name="T13" fmla="*/ 672 h 672"/>
                    <a:gd name="T14" fmla="*/ 475 w 499"/>
                    <a:gd name="T15" fmla="*/ 672 h 672"/>
                    <a:gd name="T16" fmla="*/ 499 w 499"/>
                    <a:gd name="T17" fmla="*/ 648 h 672"/>
                    <a:gd name="T18" fmla="*/ 499 w 499"/>
                    <a:gd name="T19" fmla="*/ 584 h 672"/>
                    <a:gd name="T20" fmla="*/ 475 w 499"/>
                    <a:gd name="T21" fmla="*/ 560 h 672"/>
                    <a:gd name="T22" fmla="*/ 451 w 499"/>
                    <a:gd name="T23" fmla="*/ 584 h 672"/>
                    <a:gd name="T24" fmla="*/ 451 w 499"/>
                    <a:gd name="T25" fmla="*/ 624 h 672"/>
                    <a:gd name="T26" fmla="*/ 48 w 499"/>
                    <a:gd name="T27" fmla="*/ 624 h 672"/>
                    <a:gd name="T28" fmla="*/ 48 w 499"/>
                    <a:gd name="T29" fmla="*/ 48 h 672"/>
                    <a:gd name="T30" fmla="*/ 475 w 499"/>
                    <a:gd name="T31" fmla="*/ 48 h 672"/>
                    <a:gd name="T32" fmla="*/ 475 w 499"/>
                    <a:gd name="T33" fmla="*/ 48 h 672"/>
                    <a:gd name="T34" fmla="*/ 475 w 499"/>
                    <a:gd name="T35" fmla="*/ 48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99" h="672">
                      <a:moveTo>
                        <a:pt x="475" y="48"/>
                      </a:moveTo>
                      <a:cubicBezTo>
                        <a:pt x="488" y="48"/>
                        <a:pt x="499" y="37"/>
                        <a:pt x="499" y="24"/>
                      </a:cubicBezTo>
                      <a:cubicBezTo>
                        <a:pt x="499" y="11"/>
                        <a:pt x="488" y="0"/>
                        <a:pt x="47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648"/>
                        <a:pt x="0" y="648"/>
                        <a:pt x="0" y="648"/>
                      </a:cubicBezTo>
                      <a:cubicBezTo>
                        <a:pt x="0" y="662"/>
                        <a:pt x="11" y="672"/>
                        <a:pt x="24" y="672"/>
                      </a:cubicBezTo>
                      <a:cubicBezTo>
                        <a:pt x="475" y="672"/>
                        <a:pt x="475" y="672"/>
                        <a:pt x="475" y="672"/>
                      </a:cubicBezTo>
                      <a:cubicBezTo>
                        <a:pt x="488" y="672"/>
                        <a:pt x="499" y="662"/>
                        <a:pt x="499" y="648"/>
                      </a:cubicBezTo>
                      <a:cubicBezTo>
                        <a:pt x="499" y="584"/>
                        <a:pt x="499" y="584"/>
                        <a:pt x="499" y="584"/>
                      </a:cubicBezTo>
                      <a:cubicBezTo>
                        <a:pt x="499" y="571"/>
                        <a:pt x="488" y="560"/>
                        <a:pt x="475" y="560"/>
                      </a:cubicBezTo>
                      <a:cubicBezTo>
                        <a:pt x="462" y="560"/>
                        <a:pt x="451" y="571"/>
                        <a:pt x="451" y="584"/>
                      </a:cubicBezTo>
                      <a:cubicBezTo>
                        <a:pt x="451" y="624"/>
                        <a:pt x="451" y="624"/>
                        <a:pt x="451" y="624"/>
                      </a:cubicBezTo>
                      <a:cubicBezTo>
                        <a:pt x="48" y="624"/>
                        <a:pt x="48" y="624"/>
                        <a:pt x="48" y="624"/>
                      </a:cubicBezTo>
                      <a:cubicBezTo>
                        <a:pt x="48" y="48"/>
                        <a:pt x="48" y="48"/>
                        <a:pt x="48" y="48"/>
                      </a:cubicBezTo>
                      <a:lnTo>
                        <a:pt x="475" y="48"/>
                      </a:lnTo>
                      <a:close/>
                      <a:moveTo>
                        <a:pt x="475" y="48"/>
                      </a:moveTo>
                      <a:cubicBezTo>
                        <a:pt x="475" y="48"/>
                        <a:pt x="475" y="48"/>
                        <a:pt x="475" y="48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104"/>
                <p:cNvSpPr>
                  <a:spLocks noEditPoints="1"/>
                </p:cNvSpPr>
                <p:nvPr/>
              </p:nvSpPr>
              <p:spPr bwMode="auto">
                <a:xfrm>
                  <a:off x="-606426" y="7219950"/>
                  <a:ext cx="31750" cy="31750"/>
                </a:xfrm>
                <a:custGeom>
                  <a:avLst/>
                  <a:gdLst>
                    <a:gd name="T0" fmla="*/ 7 w 48"/>
                    <a:gd name="T1" fmla="*/ 7 h 48"/>
                    <a:gd name="T2" fmla="*/ 0 w 48"/>
                    <a:gd name="T3" fmla="*/ 24 h 48"/>
                    <a:gd name="T4" fmla="*/ 7 w 48"/>
                    <a:gd name="T5" fmla="*/ 41 h 48"/>
                    <a:gd name="T6" fmla="*/ 24 w 48"/>
                    <a:gd name="T7" fmla="*/ 48 h 48"/>
                    <a:gd name="T8" fmla="*/ 41 w 48"/>
                    <a:gd name="T9" fmla="*/ 41 h 48"/>
                    <a:gd name="T10" fmla="*/ 48 w 48"/>
                    <a:gd name="T11" fmla="*/ 24 h 48"/>
                    <a:gd name="T12" fmla="*/ 41 w 48"/>
                    <a:gd name="T13" fmla="*/ 7 h 48"/>
                    <a:gd name="T14" fmla="*/ 24 w 48"/>
                    <a:gd name="T15" fmla="*/ 0 h 48"/>
                    <a:gd name="T16" fmla="*/ 7 w 48"/>
                    <a:gd name="T17" fmla="*/ 7 h 48"/>
                    <a:gd name="T18" fmla="*/ 7 w 48"/>
                    <a:gd name="T19" fmla="*/ 7 h 48"/>
                    <a:gd name="T20" fmla="*/ 7 w 48"/>
                    <a:gd name="T21" fmla="*/ 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7" y="7"/>
                      </a:moveTo>
                      <a:cubicBezTo>
                        <a:pt x="2" y="11"/>
                        <a:pt x="0" y="18"/>
                        <a:pt x="0" y="24"/>
                      </a:cubicBezTo>
                      <a:cubicBezTo>
                        <a:pt x="0" y="30"/>
                        <a:pt x="2" y="36"/>
                        <a:pt x="7" y="41"/>
                      </a:cubicBezTo>
                      <a:cubicBezTo>
                        <a:pt x="11" y="45"/>
                        <a:pt x="17" y="48"/>
                        <a:pt x="24" y="48"/>
                      </a:cubicBezTo>
                      <a:cubicBezTo>
                        <a:pt x="30" y="48"/>
                        <a:pt x="36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8"/>
                        <a:pt x="45" y="11"/>
                        <a:pt x="41" y="7"/>
                      </a:cubicBezTo>
                      <a:cubicBezTo>
                        <a:pt x="36" y="3"/>
                        <a:pt x="30" y="0"/>
                        <a:pt x="24" y="0"/>
                      </a:cubicBezTo>
                      <a:cubicBezTo>
                        <a:pt x="17" y="0"/>
                        <a:pt x="11" y="3"/>
                        <a:pt x="7" y="7"/>
                      </a:cubicBezTo>
                      <a:close/>
                      <a:moveTo>
                        <a:pt x="7" y="7"/>
                      </a:moveTo>
                      <a:cubicBezTo>
                        <a:pt x="7" y="7"/>
                        <a:pt x="7" y="7"/>
                        <a:pt x="7" y="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105"/>
                <p:cNvSpPr>
                  <a:spLocks noEditPoints="1"/>
                </p:cNvSpPr>
                <p:nvPr/>
              </p:nvSpPr>
              <p:spPr bwMode="auto">
                <a:xfrm>
                  <a:off x="-338138" y="6886575"/>
                  <a:ext cx="30163" cy="85725"/>
                </a:xfrm>
                <a:custGeom>
                  <a:avLst/>
                  <a:gdLst>
                    <a:gd name="T0" fmla="*/ 24 w 48"/>
                    <a:gd name="T1" fmla="*/ 129 h 129"/>
                    <a:gd name="T2" fmla="*/ 48 w 48"/>
                    <a:gd name="T3" fmla="*/ 105 h 129"/>
                    <a:gd name="T4" fmla="*/ 48 w 48"/>
                    <a:gd name="T5" fmla="*/ 24 h 129"/>
                    <a:gd name="T6" fmla="*/ 24 w 48"/>
                    <a:gd name="T7" fmla="*/ 0 h 129"/>
                    <a:gd name="T8" fmla="*/ 0 w 48"/>
                    <a:gd name="T9" fmla="*/ 24 h 129"/>
                    <a:gd name="T10" fmla="*/ 0 w 48"/>
                    <a:gd name="T11" fmla="*/ 105 h 129"/>
                    <a:gd name="T12" fmla="*/ 24 w 48"/>
                    <a:gd name="T13" fmla="*/ 129 h 129"/>
                    <a:gd name="T14" fmla="*/ 24 w 48"/>
                    <a:gd name="T15" fmla="*/ 129 h 129"/>
                    <a:gd name="T16" fmla="*/ 24 w 48"/>
                    <a:gd name="T17" fmla="*/ 12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129">
                      <a:moveTo>
                        <a:pt x="24" y="129"/>
                      </a:moveTo>
                      <a:cubicBezTo>
                        <a:pt x="37" y="129"/>
                        <a:pt x="48" y="118"/>
                        <a:pt x="48" y="105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48" y="11"/>
                        <a:pt x="37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105"/>
                        <a:pt x="0" y="105"/>
                        <a:pt x="0" y="105"/>
                      </a:cubicBezTo>
                      <a:cubicBezTo>
                        <a:pt x="0" y="118"/>
                        <a:pt x="11" y="129"/>
                        <a:pt x="24" y="129"/>
                      </a:cubicBezTo>
                      <a:close/>
                      <a:moveTo>
                        <a:pt x="24" y="129"/>
                      </a:moveTo>
                      <a:cubicBezTo>
                        <a:pt x="24" y="129"/>
                        <a:pt x="24" y="129"/>
                        <a:pt x="24" y="129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6"/>
                <p:cNvSpPr>
                  <a:spLocks noEditPoints="1"/>
                </p:cNvSpPr>
                <p:nvPr/>
              </p:nvSpPr>
              <p:spPr bwMode="auto">
                <a:xfrm>
                  <a:off x="-338138" y="6997700"/>
                  <a:ext cx="30163" cy="31750"/>
                </a:xfrm>
                <a:custGeom>
                  <a:avLst/>
                  <a:gdLst>
                    <a:gd name="T0" fmla="*/ 24 w 48"/>
                    <a:gd name="T1" fmla="*/ 0 h 48"/>
                    <a:gd name="T2" fmla="*/ 7 w 48"/>
                    <a:gd name="T3" fmla="*/ 7 h 48"/>
                    <a:gd name="T4" fmla="*/ 0 w 48"/>
                    <a:gd name="T5" fmla="*/ 24 h 48"/>
                    <a:gd name="T6" fmla="*/ 7 w 48"/>
                    <a:gd name="T7" fmla="*/ 41 h 48"/>
                    <a:gd name="T8" fmla="*/ 24 w 48"/>
                    <a:gd name="T9" fmla="*/ 48 h 48"/>
                    <a:gd name="T10" fmla="*/ 41 w 48"/>
                    <a:gd name="T11" fmla="*/ 41 h 48"/>
                    <a:gd name="T12" fmla="*/ 48 w 48"/>
                    <a:gd name="T13" fmla="*/ 24 h 48"/>
                    <a:gd name="T14" fmla="*/ 41 w 48"/>
                    <a:gd name="T15" fmla="*/ 7 h 48"/>
                    <a:gd name="T16" fmla="*/ 24 w 48"/>
                    <a:gd name="T17" fmla="*/ 0 h 48"/>
                    <a:gd name="T18" fmla="*/ 24 w 48"/>
                    <a:gd name="T19" fmla="*/ 0 h 48"/>
                    <a:gd name="T20" fmla="*/ 24 w 48"/>
                    <a:gd name="T2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" h="48">
                      <a:moveTo>
                        <a:pt x="24" y="0"/>
                      </a:moveTo>
                      <a:cubicBezTo>
                        <a:pt x="18" y="0"/>
                        <a:pt x="12" y="2"/>
                        <a:pt x="7" y="7"/>
                      </a:cubicBezTo>
                      <a:cubicBezTo>
                        <a:pt x="3" y="11"/>
                        <a:pt x="0" y="17"/>
                        <a:pt x="0" y="24"/>
                      </a:cubicBezTo>
                      <a:cubicBezTo>
                        <a:pt x="0" y="30"/>
                        <a:pt x="3" y="36"/>
                        <a:pt x="7" y="41"/>
                      </a:cubicBezTo>
                      <a:cubicBezTo>
                        <a:pt x="12" y="45"/>
                        <a:pt x="18" y="48"/>
                        <a:pt x="24" y="48"/>
                      </a:cubicBezTo>
                      <a:cubicBezTo>
                        <a:pt x="30" y="48"/>
                        <a:pt x="37" y="45"/>
                        <a:pt x="41" y="41"/>
                      </a:cubicBezTo>
                      <a:cubicBezTo>
                        <a:pt x="45" y="36"/>
                        <a:pt x="48" y="30"/>
                        <a:pt x="48" y="24"/>
                      </a:cubicBezTo>
                      <a:cubicBezTo>
                        <a:pt x="48" y="17"/>
                        <a:pt x="45" y="11"/>
                        <a:pt x="41" y="7"/>
                      </a:cubicBezTo>
                      <a:cubicBezTo>
                        <a:pt x="37" y="2"/>
                        <a:pt x="30" y="0"/>
                        <a:pt x="24" y="0"/>
                      </a:cubicBezTo>
                      <a:close/>
                      <a:moveTo>
                        <a:pt x="24" y="0"/>
                      </a:moveTo>
                      <a:cubicBezTo>
                        <a:pt x="24" y="0"/>
                        <a:pt x="24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07"/>
                <p:cNvSpPr>
                  <a:spLocks noEditPoints="1"/>
                </p:cNvSpPr>
                <p:nvPr/>
              </p:nvSpPr>
              <p:spPr bwMode="auto">
                <a:xfrm>
                  <a:off x="-552451" y="6826250"/>
                  <a:ext cx="357188" cy="263525"/>
                </a:xfrm>
                <a:custGeom>
                  <a:avLst/>
                  <a:gdLst>
                    <a:gd name="T0" fmla="*/ 518 w 542"/>
                    <a:gd name="T1" fmla="*/ 0 h 398"/>
                    <a:gd name="T2" fmla="*/ 168 w 542"/>
                    <a:gd name="T3" fmla="*/ 0 h 398"/>
                    <a:gd name="T4" fmla="*/ 144 w 542"/>
                    <a:gd name="T5" fmla="*/ 24 h 398"/>
                    <a:gd name="T6" fmla="*/ 144 w 542"/>
                    <a:gd name="T7" fmla="*/ 251 h 398"/>
                    <a:gd name="T8" fmla="*/ 11 w 542"/>
                    <a:gd name="T9" fmla="*/ 355 h 398"/>
                    <a:gd name="T10" fmla="*/ 3 w 542"/>
                    <a:gd name="T11" fmla="*/ 382 h 398"/>
                    <a:gd name="T12" fmla="*/ 26 w 542"/>
                    <a:gd name="T13" fmla="*/ 398 h 398"/>
                    <a:gd name="T14" fmla="*/ 518 w 542"/>
                    <a:gd name="T15" fmla="*/ 398 h 398"/>
                    <a:gd name="T16" fmla="*/ 542 w 542"/>
                    <a:gd name="T17" fmla="*/ 374 h 398"/>
                    <a:gd name="T18" fmla="*/ 542 w 542"/>
                    <a:gd name="T19" fmla="*/ 24 h 398"/>
                    <a:gd name="T20" fmla="*/ 518 w 542"/>
                    <a:gd name="T21" fmla="*/ 0 h 398"/>
                    <a:gd name="T22" fmla="*/ 494 w 542"/>
                    <a:gd name="T23" fmla="*/ 350 h 398"/>
                    <a:gd name="T24" fmla="*/ 95 w 542"/>
                    <a:gd name="T25" fmla="*/ 350 h 398"/>
                    <a:gd name="T26" fmla="*/ 183 w 542"/>
                    <a:gd name="T27" fmla="*/ 281 h 398"/>
                    <a:gd name="T28" fmla="*/ 192 w 542"/>
                    <a:gd name="T29" fmla="*/ 262 h 398"/>
                    <a:gd name="T30" fmla="*/ 192 w 542"/>
                    <a:gd name="T31" fmla="*/ 48 h 398"/>
                    <a:gd name="T32" fmla="*/ 494 w 542"/>
                    <a:gd name="T33" fmla="*/ 48 h 398"/>
                    <a:gd name="T34" fmla="*/ 494 w 542"/>
                    <a:gd name="T35" fmla="*/ 350 h 398"/>
                    <a:gd name="T36" fmla="*/ 494 w 542"/>
                    <a:gd name="T37" fmla="*/ 350 h 398"/>
                    <a:gd name="T38" fmla="*/ 494 w 542"/>
                    <a:gd name="T39" fmla="*/ 350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2" h="398">
                      <a:moveTo>
                        <a:pt x="518" y="0"/>
                      </a:move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5" y="0"/>
                        <a:pt x="144" y="11"/>
                        <a:pt x="144" y="24"/>
                      </a:cubicBezTo>
                      <a:cubicBezTo>
                        <a:pt x="144" y="251"/>
                        <a:pt x="144" y="251"/>
                        <a:pt x="144" y="251"/>
                      </a:cubicBezTo>
                      <a:cubicBezTo>
                        <a:pt x="11" y="355"/>
                        <a:pt x="11" y="355"/>
                        <a:pt x="11" y="355"/>
                      </a:cubicBezTo>
                      <a:cubicBezTo>
                        <a:pt x="3" y="362"/>
                        <a:pt x="0" y="372"/>
                        <a:pt x="3" y="382"/>
                      </a:cubicBezTo>
                      <a:cubicBezTo>
                        <a:pt x="7" y="392"/>
                        <a:pt x="16" y="398"/>
                        <a:pt x="26" y="398"/>
                      </a:cubicBezTo>
                      <a:cubicBezTo>
                        <a:pt x="518" y="398"/>
                        <a:pt x="518" y="398"/>
                        <a:pt x="518" y="398"/>
                      </a:cubicBezTo>
                      <a:cubicBezTo>
                        <a:pt x="531" y="398"/>
                        <a:pt x="542" y="388"/>
                        <a:pt x="542" y="374"/>
                      </a:cubicBezTo>
                      <a:cubicBezTo>
                        <a:pt x="542" y="24"/>
                        <a:pt x="542" y="24"/>
                        <a:pt x="542" y="24"/>
                      </a:cubicBezTo>
                      <a:cubicBezTo>
                        <a:pt x="542" y="11"/>
                        <a:pt x="531" y="0"/>
                        <a:pt x="518" y="0"/>
                      </a:cubicBezTo>
                      <a:close/>
                      <a:moveTo>
                        <a:pt x="494" y="350"/>
                      </a:moveTo>
                      <a:cubicBezTo>
                        <a:pt x="95" y="350"/>
                        <a:pt x="95" y="350"/>
                        <a:pt x="95" y="350"/>
                      </a:cubicBezTo>
                      <a:cubicBezTo>
                        <a:pt x="183" y="281"/>
                        <a:pt x="183" y="281"/>
                        <a:pt x="183" y="281"/>
                      </a:cubicBezTo>
                      <a:cubicBezTo>
                        <a:pt x="189" y="277"/>
                        <a:pt x="192" y="270"/>
                        <a:pt x="192" y="262"/>
                      </a:cubicBezTo>
                      <a:cubicBezTo>
                        <a:pt x="192" y="48"/>
                        <a:pt x="192" y="48"/>
                        <a:pt x="192" y="48"/>
                      </a:cubicBezTo>
                      <a:cubicBezTo>
                        <a:pt x="494" y="48"/>
                        <a:pt x="494" y="48"/>
                        <a:pt x="494" y="48"/>
                      </a:cubicBezTo>
                      <a:cubicBezTo>
                        <a:pt x="494" y="350"/>
                        <a:pt x="494" y="350"/>
                        <a:pt x="494" y="350"/>
                      </a:cubicBezTo>
                      <a:close/>
                      <a:moveTo>
                        <a:pt x="494" y="350"/>
                      </a:moveTo>
                      <a:cubicBezTo>
                        <a:pt x="494" y="350"/>
                        <a:pt x="494" y="350"/>
                        <a:pt x="494" y="35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56" name="TextBox 355"/>
              <p:cNvSpPr txBox="1"/>
              <p:nvPr/>
            </p:nvSpPr>
            <p:spPr>
              <a:xfrm>
                <a:off x="4055737" y="2094104"/>
                <a:ext cx="38311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Push 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Notification</a:t>
                </a:r>
              </a:p>
            </p:txBody>
          </p:sp>
        </p:grpSp>
      </p:grpSp>
      <p:grpSp>
        <p:nvGrpSpPr>
          <p:cNvPr id="378" name="Group 377"/>
          <p:cNvGrpSpPr/>
          <p:nvPr/>
        </p:nvGrpSpPr>
        <p:grpSpPr>
          <a:xfrm>
            <a:off x="5115068" y="1495764"/>
            <a:ext cx="512615" cy="512615"/>
            <a:chOff x="4118242" y="2934414"/>
            <a:chExt cx="502920" cy="502920"/>
          </a:xfrm>
        </p:grpSpPr>
        <p:sp>
          <p:nvSpPr>
            <p:cNvPr id="110" name="Oval 109"/>
            <p:cNvSpPr/>
            <p:nvPr/>
          </p:nvSpPr>
          <p:spPr>
            <a:xfrm>
              <a:off x="4118242" y="29344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7" name="Group 376"/>
            <p:cNvGrpSpPr/>
            <p:nvPr/>
          </p:nvGrpSpPr>
          <p:grpSpPr>
            <a:xfrm>
              <a:off x="4264706" y="3047302"/>
              <a:ext cx="209993" cy="277145"/>
              <a:chOff x="4269818" y="3056102"/>
              <a:chExt cx="209993" cy="277145"/>
            </a:xfrm>
          </p:grpSpPr>
          <p:grpSp>
            <p:nvGrpSpPr>
              <p:cNvPr id="116" name="Group 147"/>
              <p:cNvGrpSpPr>
                <a:grpSpLocks noChangeAspect="1"/>
              </p:cNvGrpSpPr>
              <p:nvPr/>
            </p:nvGrpSpPr>
            <p:grpSpPr bwMode="auto">
              <a:xfrm>
                <a:off x="4280153" y="3056102"/>
                <a:ext cx="189323" cy="149328"/>
                <a:chOff x="4875" y="1755"/>
                <a:chExt cx="871" cy="687"/>
              </a:xfrm>
              <a:solidFill>
                <a:schemeClr val="tx2"/>
              </a:solidFill>
            </p:grpSpPr>
            <p:sp>
              <p:nvSpPr>
                <p:cNvPr id="117" name="Freeform 148"/>
                <p:cNvSpPr>
                  <a:spLocks/>
                </p:cNvSpPr>
                <p:nvPr/>
              </p:nvSpPr>
              <p:spPr bwMode="auto">
                <a:xfrm>
                  <a:off x="5022" y="1755"/>
                  <a:ext cx="576" cy="412"/>
                </a:xfrm>
                <a:custGeom>
                  <a:avLst/>
                  <a:gdLst>
                    <a:gd name="T0" fmla="*/ 576 w 576"/>
                    <a:gd name="T1" fmla="*/ 412 h 412"/>
                    <a:gd name="T2" fmla="*/ 524 w 576"/>
                    <a:gd name="T3" fmla="*/ 412 h 412"/>
                    <a:gd name="T4" fmla="*/ 524 w 576"/>
                    <a:gd name="T5" fmla="*/ 50 h 412"/>
                    <a:gd name="T6" fmla="*/ 50 w 576"/>
                    <a:gd name="T7" fmla="*/ 50 h 412"/>
                    <a:gd name="T8" fmla="*/ 50 w 576"/>
                    <a:gd name="T9" fmla="*/ 150 h 412"/>
                    <a:gd name="T10" fmla="*/ 0 w 576"/>
                    <a:gd name="T11" fmla="*/ 150 h 412"/>
                    <a:gd name="T12" fmla="*/ 0 w 576"/>
                    <a:gd name="T13" fmla="*/ 0 h 412"/>
                    <a:gd name="T14" fmla="*/ 576 w 576"/>
                    <a:gd name="T15" fmla="*/ 0 h 412"/>
                    <a:gd name="T16" fmla="*/ 576 w 576"/>
                    <a:gd name="T1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2">
                      <a:moveTo>
                        <a:pt x="576" y="412"/>
                      </a:moveTo>
                      <a:lnTo>
                        <a:pt x="524" y="412"/>
                      </a:lnTo>
                      <a:lnTo>
                        <a:pt x="524" y="50"/>
                      </a:lnTo>
                      <a:lnTo>
                        <a:pt x="50" y="50"/>
                      </a:lnTo>
                      <a:lnTo>
                        <a:pt x="50" y="150"/>
                      </a:lnTo>
                      <a:lnTo>
                        <a:pt x="0" y="150"/>
                      </a:lnTo>
                      <a:lnTo>
                        <a:pt x="0" y="0"/>
                      </a:lnTo>
                      <a:lnTo>
                        <a:pt x="576" y="0"/>
                      </a:lnTo>
                      <a:lnTo>
                        <a:pt x="576" y="4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149"/>
                <p:cNvSpPr>
                  <a:spLocks/>
                </p:cNvSpPr>
                <p:nvPr/>
              </p:nvSpPr>
              <p:spPr bwMode="auto">
                <a:xfrm>
                  <a:off x="5022" y="2027"/>
                  <a:ext cx="576" cy="415"/>
                </a:xfrm>
                <a:custGeom>
                  <a:avLst/>
                  <a:gdLst>
                    <a:gd name="T0" fmla="*/ 576 w 576"/>
                    <a:gd name="T1" fmla="*/ 415 h 415"/>
                    <a:gd name="T2" fmla="*/ 0 w 576"/>
                    <a:gd name="T3" fmla="*/ 415 h 415"/>
                    <a:gd name="T4" fmla="*/ 0 w 576"/>
                    <a:gd name="T5" fmla="*/ 0 h 415"/>
                    <a:gd name="T6" fmla="*/ 50 w 576"/>
                    <a:gd name="T7" fmla="*/ 0 h 415"/>
                    <a:gd name="T8" fmla="*/ 50 w 576"/>
                    <a:gd name="T9" fmla="*/ 362 h 415"/>
                    <a:gd name="T10" fmla="*/ 524 w 576"/>
                    <a:gd name="T11" fmla="*/ 362 h 415"/>
                    <a:gd name="T12" fmla="*/ 524 w 576"/>
                    <a:gd name="T13" fmla="*/ 262 h 415"/>
                    <a:gd name="T14" fmla="*/ 576 w 576"/>
                    <a:gd name="T15" fmla="*/ 262 h 415"/>
                    <a:gd name="T16" fmla="*/ 576 w 576"/>
                    <a:gd name="T17" fmla="*/ 415 h 4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6" h="415">
                      <a:moveTo>
                        <a:pt x="576" y="415"/>
                      </a:moveTo>
                      <a:lnTo>
                        <a:pt x="0" y="415"/>
                      </a:lnTo>
                      <a:lnTo>
                        <a:pt x="0" y="0"/>
                      </a:lnTo>
                      <a:lnTo>
                        <a:pt x="50" y="0"/>
                      </a:lnTo>
                      <a:lnTo>
                        <a:pt x="50" y="362"/>
                      </a:lnTo>
                      <a:lnTo>
                        <a:pt x="524" y="362"/>
                      </a:lnTo>
                      <a:lnTo>
                        <a:pt x="524" y="262"/>
                      </a:lnTo>
                      <a:lnTo>
                        <a:pt x="576" y="262"/>
                      </a:lnTo>
                      <a:lnTo>
                        <a:pt x="576" y="41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150"/>
                <p:cNvSpPr>
                  <a:spLocks/>
                </p:cNvSpPr>
                <p:nvPr/>
              </p:nvSpPr>
              <p:spPr bwMode="auto">
                <a:xfrm>
                  <a:off x="4875" y="1957"/>
                  <a:ext cx="342" cy="244"/>
                </a:xfrm>
                <a:custGeom>
                  <a:avLst/>
                  <a:gdLst>
                    <a:gd name="T0" fmla="*/ 304 w 342"/>
                    <a:gd name="T1" fmla="*/ 244 h 244"/>
                    <a:gd name="T2" fmla="*/ 171 w 342"/>
                    <a:gd name="T3" fmla="*/ 81 h 244"/>
                    <a:gd name="T4" fmla="*/ 38 w 342"/>
                    <a:gd name="T5" fmla="*/ 244 h 244"/>
                    <a:gd name="T6" fmla="*/ 0 w 342"/>
                    <a:gd name="T7" fmla="*/ 210 h 244"/>
                    <a:gd name="T8" fmla="*/ 171 w 342"/>
                    <a:gd name="T9" fmla="*/ 0 h 244"/>
                    <a:gd name="T10" fmla="*/ 342 w 342"/>
                    <a:gd name="T11" fmla="*/ 210 h 244"/>
                    <a:gd name="T12" fmla="*/ 304 w 342"/>
                    <a:gd name="T13" fmla="*/ 24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2" h="244">
                      <a:moveTo>
                        <a:pt x="304" y="244"/>
                      </a:moveTo>
                      <a:lnTo>
                        <a:pt x="171" y="81"/>
                      </a:lnTo>
                      <a:lnTo>
                        <a:pt x="38" y="244"/>
                      </a:lnTo>
                      <a:lnTo>
                        <a:pt x="0" y="210"/>
                      </a:lnTo>
                      <a:lnTo>
                        <a:pt x="171" y="0"/>
                      </a:lnTo>
                      <a:lnTo>
                        <a:pt x="342" y="210"/>
                      </a:lnTo>
                      <a:lnTo>
                        <a:pt x="304" y="2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51"/>
                <p:cNvSpPr>
                  <a:spLocks/>
                </p:cNvSpPr>
                <p:nvPr/>
              </p:nvSpPr>
              <p:spPr bwMode="auto">
                <a:xfrm>
                  <a:off x="5401" y="1998"/>
                  <a:ext cx="345" cy="241"/>
                </a:xfrm>
                <a:custGeom>
                  <a:avLst/>
                  <a:gdLst>
                    <a:gd name="T0" fmla="*/ 171 w 345"/>
                    <a:gd name="T1" fmla="*/ 241 h 241"/>
                    <a:gd name="T2" fmla="*/ 0 w 345"/>
                    <a:gd name="T3" fmla="*/ 31 h 241"/>
                    <a:gd name="T4" fmla="*/ 40 w 345"/>
                    <a:gd name="T5" fmla="*/ 0 h 241"/>
                    <a:gd name="T6" fmla="*/ 171 w 345"/>
                    <a:gd name="T7" fmla="*/ 160 h 241"/>
                    <a:gd name="T8" fmla="*/ 304 w 345"/>
                    <a:gd name="T9" fmla="*/ 0 h 241"/>
                    <a:gd name="T10" fmla="*/ 345 w 345"/>
                    <a:gd name="T11" fmla="*/ 31 h 241"/>
                    <a:gd name="T12" fmla="*/ 171 w 345"/>
                    <a:gd name="T13" fmla="*/ 241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5" h="241">
                      <a:moveTo>
                        <a:pt x="171" y="241"/>
                      </a:moveTo>
                      <a:lnTo>
                        <a:pt x="0" y="31"/>
                      </a:lnTo>
                      <a:lnTo>
                        <a:pt x="40" y="0"/>
                      </a:lnTo>
                      <a:lnTo>
                        <a:pt x="171" y="160"/>
                      </a:lnTo>
                      <a:lnTo>
                        <a:pt x="304" y="0"/>
                      </a:lnTo>
                      <a:lnTo>
                        <a:pt x="345" y="31"/>
                      </a:lnTo>
                      <a:lnTo>
                        <a:pt x="171" y="2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57" name="TextBox 356"/>
              <p:cNvSpPr txBox="1"/>
              <p:nvPr/>
            </p:nvSpPr>
            <p:spPr>
              <a:xfrm>
                <a:off x="4269818" y="3240914"/>
                <a:ext cx="209993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CI/CD</a:t>
                </a:r>
              </a:p>
            </p:txBody>
          </p:sp>
        </p:grpSp>
      </p:grpSp>
      <p:grpSp>
        <p:nvGrpSpPr>
          <p:cNvPr id="380" name="Group 379"/>
          <p:cNvGrpSpPr/>
          <p:nvPr/>
        </p:nvGrpSpPr>
        <p:grpSpPr>
          <a:xfrm>
            <a:off x="6602125" y="3897179"/>
            <a:ext cx="512615" cy="512615"/>
            <a:chOff x="3655341" y="3765514"/>
            <a:chExt cx="502920" cy="502920"/>
          </a:xfrm>
        </p:grpSpPr>
        <p:sp>
          <p:nvSpPr>
            <p:cNvPr id="111" name="Oval 110"/>
            <p:cNvSpPr/>
            <p:nvPr/>
          </p:nvSpPr>
          <p:spPr>
            <a:xfrm>
              <a:off x="3655341" y="37655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79" name="Group 378"/>
            <p:cNvGrpSpPr/>
            <p:nvPr/>
          </p:nvGrpSpPr>
          <p:grpSpPr>
            <a:xfrm>
              <a:off x="3796995" y="3868746"/>
              <a:ext cx="219611" cy="292497"/>
              <a:chOff x="3798865" y="3866583"/>
              <a:chExt cx="219611" cy="292497"/>
            </a:xfrm>
          </p:grpSpPr>
          <p:grpSp>
            <p:nvGrpSpPr>
              <p:cNvPr id="172" name="Group 171"/>
              <p:cNvGrpSpPr/>
              <p:nvPr/>
            </p:nvGrpSpPr>
            <p:grpSpPr>
              <a:xfrm>
                <a:off x="3853067" y="3866583"/>
                <a:ext cx="111208" cy="175827"/>
                <a:chOff x="5277462" y="3528632"/>
                <a:chExt cx="237807" cy="375989"/>
              </a:xfrm>
            </p:grpSpPr>
            <p:sp>
              <p:nvSpPr>
                <p:cNvPr id="173" name="Freeform 111"/>
                <p:cNvSpPr>
                  <a:spLocks noEditPoints="1"/>
                </p:cNvSpPr>
                <p:nvPr/>
              </p:nvSpPr>
              <p:spPr bwMode="auto">
                <a:xfrm>
                  <a:off x="5325332" y="3572615"/>
                  <a:ext cx="13898" cy="12769"/>
                </a:xfrm>
                <a:custGeom>
                  <a:avLst/>
                  <a:gdLst>
                    <a:gd name="T0" fmla="*/ 26 w 52"/>
                    <a:gd name="T1" fmla="*/ 0 h 52"/>
                    <a:gd name="T2" fmla="*/ 0 w 52"/>
                    <a:gd name="T3" fmla="*/ 26 h 52"/>
                    <a:gd name="T4" fmla="*/ 26 w 52"/>
                    <a:gd name="T5" fmla="*/ 52 h 52"/>
                    <a:gd name="T6" fmla="*/ 52 w 52"/>
                    <a:gd name="T7" fmla="*/ 26 h 52"/>
                    <a:gd name="T8" fmla="*/ 26 w 52"/>
                    <a:gd name="T9" fmla="*/ 0 h 52"/>
                    <a:gd name="T10" fmla="*/ 26 w 52"/>
                    <a:gd name="T11" fmla="*/ 0 h 52"/>
                    <a:gd name="T12" fmla="*/ 26 w 52"/>
                    <a:gd name="T13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52">
                      <a:moveTo>
                        <a:pt x="26" y="0"/>
                      </a:moveTo>
                      <a:cubicBezTo>
                        <a:pt x="12" y="0"/>
                        <a:pt x="0" y="12"/>
                        <a:pt x="0" y="26"/>
                      </a:cubicBezTo>
                      <a:cubicBezTo>
                        <a:pt x="0" y="40"/>
                        <a:pt x="12" y="52"/>
                        <a:pt x="26" y="52"/>
                      </a:cubicBezTo>
                      <a:cubicBezTo>
                        <a:pt x="40" y="52"/>
                        <a:pt x="52" y="40"/>
                        <a:pt x="52" y="26"/>
                      </a:cubicBezTo>
                      <a:cubicBezTo>
                        <a:pt x="52" y="12"/>
                        <a:pt x="40" y="0"/>
                        <a:pt x="26" y="0"/>
                      </a:cubicBezTo>
                      <a:close/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112"/>
                <p:cNvSpPr>
                  <a:spLocks noEditPoints="1"/>
                </p:cNvSpPr>
                <p:nvPr/>
              </p:nvSpPr>
              <p:spPr bwMode="auto">
                <a:xfrm>
                  <a:off x="5303713" y="3552752"/>
                  <a:ext cx="84932" cy="52496"/>
                </a:xfrm>
                <a:custGeom>
                  <a:avLst/>
                  <a:gdLst>
                    <a:gd name="T0" fmla="*/ 304 w 304"/>
                    <a:gd name="T1" fmla="*/ 104 h 208"/>
                    <a:gd name="T2" fmla="*/ 200 w 304"/>
                    <a:gd name="T3" fmla="*/ 0 h 208"/>
                    <a:gd name="T4" fmla="*/ 104 w 304"/>
                    <a:gd name="T5" fmla="*/ 0 h 208"/>
                    <a:gd name="T6" fmla="*/ 0 w 304"/>
                    <a:gd name="T7" fmla="*/ 104 h 208"/>
                    <a:gd name="T8" fmla="*/ 104 w 304"/>
                    <a:gd name="T9" fmla="*/ 208 h 208"/>
                    <a:gd name="T10" fmla="*/ 200 w 304"/>
                    <a:gd name="T11" fmla="*/ 208 h 208"/>
                    <a:gd name="T12" fmla="*/ 304 w 304"/>
                    <a:gd name="T13" fmla="*/ 104 h 208"/>
                    <a:gd name="T14" fmla="*/ 48 w 304"/>
                    <a:gd name="T15" fmla="*/ 104 h 208"/>
                    <a:gd name="T16" fmla="*/ 104 w 304"/>
                    <a:gd name="T17" fmla="*/ 48 h 208"/>
                    <a:gd name="T18" fmla="*/ 200 w 304"/>
                    <a:gd name="T19" fmla="*/ 48 h 208"/>
                    <a:gd name="T20" fmla="*/ 256 w 304"/>
                    <a:gd name="T21" fmla="*/ 104 h 208"/>
                    <a:gd name="T22" fmla="*/ 200 w 304"/>
                    <a:gd name="T23" fmla="*/ 160 h 208"/>
                    <a:gd name="T24" fmla="*/ 104 w 304"/>
                    <a:gd name="T25" fmla="*/ 160 h 208"/>
                    <a:gd name="T26" fmla="*/ 48 w 304"/>
                    <a:gd name="T27" fmla="*/ 104 h 208"/>
                    <a:gd name="T28" fmla="*/ 48 w 304"/>
                    <a:gd name="T29" fmla="*/ 104 h 208"/>
                    <a:gd name="T30" fmla="*/ 48 w 304"/>
                    <a:gd name="T31" fmla="*/ 104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4" h="208">
                      <a:moveTo>
                        <a:pt x="304" y="104"/>
                      </a:moveTo>
                      <a:cubicBezTo>
                        <a:pt x="304" y="47"/>
                        <a:pt x="257" y="0"/>
                        <a:pt x="20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47" y="0"/>
                        <a:pt x="0" y="47"/>
                        <a:pt x="0" y="104"/>
                      </a:cubicBezTo>
                      <a:cubicBezTo>
                        <a:pt x="0" y="161"/>
                        <a:pt x="47" y="208"/>
                        <a:pt x="104" y="208"/>
                      </a:cubicBezTo>
                      <a:cubicBezTo>
                        <a:pt x="200" y="208"/>
                        <a:pt x="200" y="208"/>
                        <a:pt x="200" y="208"/>
                      </a:cubicBezTo>
                      <a:cubicBezTo>
                        <a:pt x="257" y="208"/>
                        <a:pt x="304" y="161"/>
                        <a:pt x="304" y="104"/>
                      </a:cubicBezTo>
                      <a:close/>
                      <a:moveTo>
                        <a:pt x="48" y="104"/>
                      </a:moveTo>
                      <a:cubicBezTo>
                        <a:pt x="48" y="73"/>
                        <a:pt x="73" y="48"/>
                        <a:pt x="104" y="48"/>
                      </a:cubicBezTo>
                      <a:cubicBezTo>
                        <a:pt x="200" y="48"/>
                        <a:pt x="200" y="48"/>
                        <a:pt x="200" y="48"/>
                      </a:cubicBezTo>
                      <a:cubicBezTo>
                        <a:pt x="231" y="48"/>
                        <a:pt x="256" y="73"/>
                        <a:pt x="256" y="104"/>
                      </a:cubicBezTo>
                      <a:cubicBezTo>
                        <a:pt x="256" y="135"/>
                        <a:pt x="231" y="160"/>
                        <a:pt x="200" y="160"/>
                      </a:cubicBezTo>
                      <a:cubicBezTo>
                        <a:pt x="104" y="160"/>
                        <a:pt x="104" y="160"/>
                        <a:pt x="104" y="160"/>
                      </a:cubicBezTo>
                      <a:cubicBezTo>
                        <a:pt x="73" y="160"/>
                        <a:pt x="48" y="135"/>
                        <a:pt x="48" y="104"/>
                      </a:cubicBezTo>
                      <a:close/>
                      <a:moveTo>
                        <a:pt x="48" y="104"/>
                      </a:moveTo>
                      <a:cubicBezTo>
                        <a:pt x="48" y="104"/>
                        <a:pt x="48" y="104"/>
                        <a:pt x="48" y="104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115"/>
                <p:cNvSpPr>
                  <a:spLocks noEditPoints="1"/>
                </p:cNvSpPr>
                <p:nvPr/>
              </p:nvSpPr>
              <p:spPr bwMode="auto">
                <a:xfrm>
                  <a:off x="5277462" y="3528632"/>
                  <a:ext cx="237807" cy="375989"/>
                </a:xfrm>
                <a:custGeom>
                  <a:avLst/>
                  <a:gdLst>
                    <a:gd name="T0" fmla="*/ 756 w 862"/>
                    <a:gd name="T1" fmla="*/ 0 h 1488"/>
                    <a:gd name="T2" fmla="*/ 107 w 862"/>
                    <a:gd name="T3" fmla="*/ 0 h 1488"/>
                    <a:gd name="T4" fmla="*/ 0 w 862"/>
                    <a:gd name="T5" fmla="*/ 107 h 1488"/>
                    <a:gd name="T6" fmla="*/ 0 w 862"/>
                    <a:gd name="T7" fmla="*/ 1381 h 1488"/>
                    <a:gd name="T8" fmla="*/ 107 w 862"/>
                    <a:gd name="T9" fmla="*/ 1488 h 1488"/>
                    <a:gd name="T10" fmla="*/ 756 w 862"/>
                    <a:gd name="T11" fmla="*/ 1488 h 1488"/>
                    <a:gd name="T12" fmla="*/ 862 w 862"/>
                    <a:gd name="T13" fmla="*/ 1381 h 1488"/>
                    <a:gd name="T14" fmla="*/ 862 w 862"/>
                    <a:gd name="T15" fmla="*/ 107 h 1488"/>
                    <a:gd name="T16" fmla="*/ 756 w 862"/>
                    <a:gd name="T17" fmla="*/ 0 h 1488"/>
                    <a:gd name="T18" fmla="*/ 814 w 862"/>
                    <a:gd name="T19" fmla="*/ 1381 h 1488"/>
                    <a:gd name="T20" fmla="*/ 756 w 862"/>
                    <a:gd name="T21" fmla="*/ 1440 h 1488"/>
                    <a:gd name="T22" fmla="*/ 107 w 862"/>
                    <a:gd name="T23" fmla="*/ 1440 h 1488"/>
                    <a:gd name="T24" fmla="*/ 48 w 862"/>
                    <a:gd name="T25" fmla="*/ 1381 h 1488"/>
                    <a:gd name="T26" fmla="*/ 48 w 862"/>
                    <a:gd name="T27" fmla="*/ 107 h 1488"/>
                    <a:gd name="T28" fmla="*/ 107 w 862"/>
                    <a:gd name="T29" fmla="*/ 48 h 1488"/>
                    <a:gd name="T30" fmla="*/ 756 w 862"/>
                    <a:gd name="T31" fmla="*/ 48 h 1488"/>
                    <a:gd name="T32" fmla="*/ 814 w 862"/>
                    <a:gd name="T33" fmla="*/ 107 h 1488"/>
                    <a:gd name="T34" fmla="*/ 814 w 862"/>
                    <a:gd name="T35" fmla="*/ 1381 h 1488"/>
                    <a:gd name="T36" fmla="*/ 814 w 862"/>
                    <a:gd name="T37" fmla="*/ 1381 h 1488"/>
                    <a:gd name="T38" fmla="*/ 814 w 862"/>
                    <a:gd name="T39" fmla="*/ 1381 h 14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62" h="1488">
                      <a:moveTo>
                        <a:pt x="756" y="0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48" y="0"/>
                        <a:pt x="0" y="48"/>
                        <a:pt x="0" y="107"/>
                      </a:cubicBezTo>
                      <a:cubicBezTo>
                        <a:pt x="0" y="1381"/>
                        <a:pt x="0" y="1381"/>
                        <a:pt x="0" y="1381"/>
                      </a:cubicBezTo>
                      <a:cubicBezTo>
                        <a:pt x="0" y="1440"/>
                        <a:pt x="48" y="1488"/>
                        <a:pt x="107" y="1488"/>
                      </a:cubicBezTo>
                      <a:cubicBezTo>
                        <a:pt x="756" y="1488"/>
                        <a:pt x="756" y="1488"/>
                        <a:pt x="756" y="1488"/>
                      </a:cubicBezTo>
                      <a:cubicBezTo>
                        <a:pt x="815" y="1488"/>
                        <a:pt x="862" y="1440"/>
                        <a:pt x="862" y="1381"/>
                      </a:cubicBezTo>
                      <a:cubicBezTo>
                        <a:pt x="862" y="107"/>
                        <a:pt x="862" y="107"/>
                        <a:pt x="862" y="107"/>
                      </a:cubicBezTo>
                      <a:cubicBezTo>
                        <a:pt x="862" y="48"/>
                        <a:pt x="815" y="0"/>
                        <a:pt x="756" y="0"/>
                      </a:cubicBezTo>
                      <a:close/>
                      <a:moveTo>
                        <a:pt x="814" y="1381"/>
                      </a:moveTo>
                      <a:cubicBezTo>
                        <a:pt x="814" y="1414"/>
                        <a:pt x="788" y="1440"/>
                        <a:pt x="756" y="1440"/>
                      </a:cubicBezTo>
                      <a:cubicBezTo>
                        <a:pt x="107" y="1440"/>
                        <a:pt x="107" y="1440"/>
                        <a:pt x="107" y="1440"/>
                      </a:cubicBezTo>
                      <a:cubicBezTo>
                        <a:pt x="74" y="1440"/>
                        <a:pt x="48" y="1414"/>
                        <a:pt x="48" y="1381"/>
                      </a:cubicBezTo>
                      <a:cubicBezTo>
                        <a:pt x="48" y="107"/>
                        <a:pt x="48" y="107"/>
                        <a:pt x="48" y="107"/>
                      </a:cubicBezTo>
                      <a:cubicBezTo>
                        <a:pt x="48" y="74"/>
                        <a:pt x="74" y="48"/>
                        <a:pt x="107" y="48"/>
                      </a:cubicBezTo>
                      <a:cubicBezTo>
                        <a:pt x="756" y="48"/>
                        <a:pt x="756" y="48"/>
                        <a:pt x="756" y="48"/>
                      </a:cubicBezTo>
                      <a:cubicBezTo>
                        <a:pt x="788" y="48"/>
                        <a:pt x="814" y="74"/>
                        <a:pt x="814" y="107"/>
                      </a:cubicBezTo>
                      <a:lnTo>
                        <a:pt x="814" y="1381"/>
                      </a:lnTo>
                      <a:close/>
                      <a:moveTo>
                        <a:pt x="814" y="1381"/>
                      </a:moveTo>
                      <a:cubicBezTo>
                        <a:pt x="814" y="1381"/>
                        <a:pt x="814" y="1381"/>
                        <a:pt x="814" y="1381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176" name="Group 175"/>
                <p:cNvGrpSpPr/>
                <p:nvPr/>
              </p:nvGrpSpPr>
              <p:grpSpPr>
                <a:xfrm>
                  <a:off x="5402452" y="3657381"/>
                  <a:ext cx="79697" cy="78323"/>
                  <a:chOff x="5351463" y="3771900"/>
                  <a:chExt cx="92076" cy="90488"/>
                </a:xfrm>
                <a:solidFill>
                  <a:schemeClr val="tx2"/>
                </a:solidFill>
              </p:grpSpPr>
              <p:sp>
                <p:nvSpPr>
                  <p:cNvPr id="180" name="Freeform 5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771900"/>
                    <a:ext cx="60325" cy="31750"/>
                  </a:xfrm>
                  <a:custGeom>
                    <a:avLst/>
                    <a:gdLst>
                      <a:gd name="T0" fmla="*/ 70 w 96"/>
                      <a:gd name="T1" fmla="*/ 18 h 64"/>
                      <a:gd name="T2" fmla="*/ 78 w 96"/>
                      <a:gd name="T3" fmla="*/ 5 h 64"/>
                      <a:gd name="T4" fmla="*/ 76 w 96"/>
                      <a:gd name="T5" fmla="*/ 0 h 64"/>
                      <a:gd name="T6" fmla="*/ 72 w 96"/>
                      <a:gd name="T7" fmla="*/ 2 h 64"/>
                      <a:gd name="T8" fmla="*/ 64 w 96"/>
                      <a:gd name="T9" fmla="*/ 16 h 64"/>
                      <a:gd name="T10" fmla="*/ 48 w 96"/>
                      <a:gd name="T11" fmla="*/ 13 h 64"/>
                      <a:gd name="T12" fmla="*/ 32 w 96"/>
                      <a:gd name="T13" fmla="*/ 16 h 64"/>
                      <a:gd name="T14" fmla="*/ 23 w 96"/>
                      <a:gd name="T15" fmla="*/ 2 h 64"/>
                      <a:gd name="T16" fmla="*/ 19 w 96"/>
                      <a:gd name="T17" fmla="*/ 0 h 64"/>
                      <a:gd name="T18" fmla="*/ 18 w 96"/>
                      <a:gd name="T19" fmla="*/ 5 h 64"/>
                      <a:gd name="T20" fmla="*/ 26 w 96"/>
                      <a:gd name="T21" fmla="*/ 18 h 64"/>
                      <a:gd name="T22" fmla="*/ 0 w 96"/>
                      <a:gd name="T23" fmla="*/ 61 h 64"/>
                      <a:gd name="T24" fmla="*/ 3 w 96"/>
                      <a:gd name="T25" fmla="*/ 64 h 64"/>
                      <a:gd name="T26" fmla="*/ 92 w 96"/>
                      <a:gd name="T27" fmla="*/ 64 h 64"/>
                      <a:gd name="T28" fmla="*/ 96 w 96"/>
                      <a:gd name="T29" fmla="*/ 61 h 64"/>
                      <a:gd name="T30" fmla="*/ 70 w 96"/>
                      <a:gd name="T31" fmla="*/ 18 h 64"/>
                      <a:gd name="T32" fmla="*/ 6 w 96"/>
                      <a:gd name="T33" fmla="*/ 58 h 64"/>
                      <a:gd name="T34" fmla="*/ 48 w 96"/>
                      <a:gd name="T35" fmla="*/ 19 h 64"/>
                      <a:gd name="T36" fmla="*/ 89 w 96"/>
                      <a:gd name="T37" fmla="*/ 58 h 64"/>
                      <a:gd name="T38" fmla="*/ 6 w 96"/>
                      <a:gd name="T39" fmla="*/ 58 h 64"/>
                      <a:gd name="T40" fmla="*/ 6 w 96"/>
                      <a:gd name="T41" fmla="*/ 58 h 64"/>
                      <a:gd name="T42" fmla="*/ 6 w 96"/>
                      <a:gd name="T43" fmla="*/ 58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96" h="64">
                        <a:moveTo>
                          <a:pt x="70" y="18"/>
                        </a:moveTo>
                        <a:cubicBezTo>
                          <a:pt x="78" y="5"/>
                          <a:pt x="78" y="5"/>
                          <a:pt x="78" y="5"/>
                        </a:cubicBezTo>
                        <a:cubicBezTo>
                          <a:pt x="78" y="3"/>
                          <a:pt x="78" y="1"/>
                          <a:pt x="76" y="0"/>
                        </a:cubicBezTo>
                        <a:cubicBezTo>
                          <a:pt x="75" y="0"/>
                          <a:pt x="73" y="0"/>
                          <a:pt x="72" y="2"/>
                        </a:cubicBezTo>
                        <a:cubicBezTo>
                          <a:pt x="64" y="16"/>
                          <a:pt x="64" y="16"/>
                          <a:pt x="64" y="16"/>
                        </a:cubicBezTo>
                        <a:cubicBezTo>
                          <a:pt x="59" y="14"/>
                          <a:pt x="53" y="13"/>
                          <a:pt x="48" y="13"/>
                        </a:cubicBezTo>
                        <a:cubicBezTo>
                          <a:pt x="42" y="13"/>
                          <a:pt x="37" y="14"/>
                          <a:pt x="32" y="16"/>
                        </a:cubicBezTo>
                        <a:cubicBezTo>
                          <a:pt x="23" y="2"/>
                          <a:pt x="23" y="2"/>
                          <a:pt x="23" y="2"/>
                        </a:cubicBezTo>
                        <a:cubicBezTo>
                          <a:pt x="22" y="0"/>
                          <a:pt x="20" y="0"/>
                          <a:pt x="19" y="0"/>
                        </a:cubicBezTo>
                        <a:cubicBezTo>
                          <a:pt x="17" y="1"/>
                          <a:pt x="17" y="3"/>
                          <a:pt x="18" y="5"/>
                        </a:cubicBezTo>
                        <a:cubicBezTo>
                          <a:pt x="26" y="18"/>
                          <a:pt x="26" y="18"/>
                          <a:pt x="26" y="18"/>
                        </a:cubicBezTo>
                        <a:cubicBezTo>
                          <a:pt x="10" y="26"/>
                          <a:pt x="0" y="42"/>
                          <a:pt x="0" y="61"/>
                        </a:cubicBezTo>
                        <a:cubicBezTo>
                          <a:pt x="0" y="63"/>
                          <a:pt x="1" y="64"/>
                          <a:pt x="3" y="64"/>
                        </a:cubicBezTo>
                        <a:cubicBezTo>
                          <a:pt x="92" y="64"/>
                          <a:pt x="92" y="64"/>
                          <a:pt x="92" y="64"/>
                        </a:cubicBezTo>
                        <a:cubicBezTo>
                          <a:pt x="94" y="64"/>
                          <a:pt x="96" y="63"/>
                          <a:pt x="96" y="61"/>
                        </a:cubicBezTo>
                        <a:cubicBezTo>
                          <a:pt x="96" y="42"/>
                          <a:pt x="85" y="26"/>
                          <a:pt x="70" y="18"/>
                        </a:cubicBezTo>
                        <a:close/>
                        <a:moveTo>
                          <a:pt x="6" y="58"/>
                        </a:moveTo>
                        <a:cubicBezTo>
                          <a:pt x="8" y="36"/>
                          <a:pt x="26" y="19"/>
                          <a:pt x="48" y="19"/>
                        </a:cubicBezTo>
                        <a:cubicBezTo>
                          <a:pt x="69" y="19"/>
                          <a:pt x="87" y="36"/>
                          <a:pt x="89" y="58"/>
                        </a:cubicBezTo>
                        <a:lnTo>
                          <a:pt x="6" y="58"/>
                        </a:lnTo>
                        <a:close/>
                        <a:moveTo>
                          <a:pt x="6" y="58"/>
                        </a:moveTo>
                        <a:cubicBezTo>
                          <a:pt x="6" y="58"/>
                          <a:pt x="6" y="58"/>
                          <a:pt x="6" y="5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1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5408613" y="3790950"/>
                    <a:ext cx="4763" cy="3175"/>
                  </a:xfrm>
                  <a:custGeom>
                    <a:avLst/>
                    <a:gdLst>
                      <a:gd name="T0" fmla="*/ 6 w 8"/>
                      <a:gd name="T1" fmla="*/ 0 h 9"/>
                      <a:gd name="T2" fmla="*/ 2 w 8"/>
                      <a:gd name="T3" fmla="*/ 0 h 9"/>
                      <a:gd name="T4" fmla="*/ 0 w 8"/>
                      <a:gd name="T5" fmla="*/ 2 h 9"/>
                      <a:gd name="T6" fmla="*/ 0 w 8"/>
                      <a:gd name="T7" fmla="*/ 7 h 9"/>
                      <a:gd name="T8" fmla="*/ 2 w 8"/>
                      <a:gd name="T9" fmla="*/ 9 h 9"/>
                      <a:gd name="T10" fmla="*/ 6 w 8"/>
                      <a:gd name="T11" fmla="*/ 9 h 9"/>
                      <a:gd name="T12" fmla="*/ 8 w 8"/>
                      <a:gd name="T13" fmla="*/ 7 h 9"/>
                      <a:gd name="T14" fmla="*/ 8 w 8"/>
                      <a:gd name="T15" fmla="*/ 2 h 9"/>
                      <a:gd name="T16" fmla="*/ 6 w 8"/>
                      <a:gd name="T17" fmla="*/ 0 h 9"/>
                      <a:gd name="T18" fmla="*/ 6 w 8"/>
                      <a:gd name="T19" fmla="*/ 0 h 9"/>
                      <a:gd name="T20" fmla="*/ 6 w 8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8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7" y="9"/>
                          <a:pt x="8" y="8"/>
                          <a:pt x="8" y="7"/>
                        </a:cubicBezTo>
                        <a:cubicBezTo>
                          <a:pt x="8" y="2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2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5381626" y="3790950"/>
                    <a:ext cx="6350" cy="3175"/>
                  </a:xfrm>
                  <a:custGeom>
                    <a:avLst/>
                    <a:gdLst>
                      <a:gd name="T0" fmla="*/ 6 w 9"/>
                      <a:gd name="T1" fmla="*/ 0 h 9"/>
                      <a:gd name="T2" fmla="*/ 2 w 9"/>
                      <a:gd name="T3" fmla="*/ 0 h 9"/>
                      <a:gd name="T4" fmla="*/ 0 w 9"/>
                      <a:gd name="T5" fmla="*/ 2 h 9"/>
                      <a:gd name="T6" fmla="*/ 0 w 9"/>
                      <a:gd name="T7" fmla="*/ 7 h 9"/>
                      <a:gd name="T8" fmla="*/ 2 w 9"/>
                      <a:gd name="T9" fmla="*/ 9 h 9"/>
                      <a:gd name="T10" fmla="*/ 6 w 9"/>
                      <a:gd name="T11" fmla="*/ 9 h 9"/>
                      <a:gd name="T12" fmla="*/ 9 w 9"/>
                      <a:gd name="T13" fmla="*/ 7 h 9"/>
                      <a:gd name="T14" fmla="*/ 9 w 9"/>
                      <a:gd name="T15" fmla="*/ 2 h 9"/>
                      <a:gd name="T16" fmla="*/ 6 w 9"/>
                      <a:gd name="T17" fmla="*/ 0 h 9"/>
                      <a:gd name="T18" fmla="*/ 6 w 9"/>
                      <a:gd name="T19" fmla="*/ 0 h 9"/>
                      <a:gd name="T20" fmla="*/ 6 w 9"/>
                      <a:gd name="T21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9" h="9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8"/>
                          <a:pt x="1" y="9"/>
                          <a:pt x="2" y="9"/>
                        </a:cubicBezTo>
                        <a:cubicBezTo>
                          <a:pt x="6" y="9"/>
                          <a:pt x="6" y="9"/>
                          <a:pt x="6" y="9"/>
                        </a:cubicBezTo>
                        <a:cubicBezTo>
                          <a:pt x="8" y="9"/>
                          <a:pt x="9" y="8"/>
                          <a:pt x="9" y="7"/>
                        </a:cubicBezTo>
                        <a:cubicBezTo>
                          <a:pt x="9" y="2"/>
                          <a:pt x="9" y="2"/>
                          <a:pt x="9" y="2"/>
                        </a:cubicBezTo>
                        <a:cubicBezTo>
                          <a:pt x="9" y="1"/>
                          <a:pt x="8" y="0"/>
                          <a:pt x="6" y="0"/>
                        </a:cubicBezTo>
                        <a:close/>
                        <a:moveTo>
                          <a:pt x="6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3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5367338" y="3805238"/>
                    <a:ext cx="60325" cy="57150"/>
                  </a:xfrm>
                  <a:custGeom>
                    <a:avLst/>
                    <a:gdLst>
                      <a:gd name="T0" fmla="*/ 92 w 96"/>
                      <a:gd name="T1" fmla="*/ 0 h 115"/>
                      <a:gd name="T2" fmla="*/ 3 w 96"/>
                      <a:gd name="T3" fmla="*/ 0 h 115"/>
                      <a:gd name="T4" fmla="*/ 0 w 96"/>
                      <a:gd name="T5" fmla="*/ 3 h 115"/>
                      <a:gd name="T6" fmla="*/ 0 w 96"/>
                      <a:gd name="T7" fmla="*/ 68 h 115"/>
                      <a:gd name="T8" fmla="*/ 15 w 96"/>
                      <a:gd name="T9" fmla="*/ 83 h 115"/>
                      <a:gd name="T10" fmla="*/ 19 w 96"/>
                      <a:gd name="T11" fmla="*/ 83 h 115"/>
                      <a:gd name="T12" fmla="*/ 19 w 96"/>
                      <a:gd name="T13" fmla="*/ 103 h 115"/>
                      <a:gd name="T14" fmla="*/ 32 w 96"/>
                      <a:gd name="T15" fmla="*/ 115 h 115"/>
                      <a:gd name="T16" fmla="*/ 44 w 96"/>
                      <a:gd name="T17" fmla="*/ 103 h 115"/>
                      <a:gd name="T18" fmla="*/ 44 w 96"/>
                      <a:gd name="T19" fmla="*/ 83 h 115"/>
                      <a:gd name="T20" fmla="*/ 51 w 96"/>
                      <a:gd name="T21" fmla="*/ 83 h 115"/>
                      <a:gd name="T22" fmla="*/ 51 w 96"/>
                      <a:gd name="T23" fmla="*/ 103 h 115"/>
                      <a:gd name="T24" fmla="*/ 64 w 96"/>
                      <a:gd name="T25" fmla="*/ 115 h 115"/>
                      <a:gd name="T26" fmla="*/ 76 w 96"/>
                      <a:gd name="T27" fmla="*/ 103 h 115"/>
                      <a:gd name="T28" fmla="*/ 76 w 96"/>
                      <a:gd name="T29" fmla="*/ 83 h 115"/>
                      <a:gd name="T30" fmla="*/ 80 w 96"/>
                      <a:gd name="T31" fmla="*/ 83 h 115"/>
                      <a:gd name="T32" fmla="*/ 96 w 96"/>
                      <a:gd name="T33" fmla="*/ 68 h 115"/>
                      <a:gd name="T34" fmla="*/ 96 w 96"/>
                      <a:gd name="T35" fmla="*/ 3 h 115"/>
                      <a:gd name="T36" fmla="*/ 92 w 96"/>
                      <a:gd name="T37" fmla="*/ 0 h 115"/>
                      <a:gd name="T38" fmla="*/ 89 w 96"/>
                      <a:gd name="T39" fmla="*/ 68 h 115"/>
                      <a:gd name="T40" fmla="*/ 80 w 96"/>
                      <a:gd name="T41" fmla="*/ 77 h 115"/>
                      <a:gd name="T42" fmla="*/ 73 w 96"/>
                      <a:gd name="T43" fmla="*/ 77 h 115"/>
                      <a:gd name="T44" fmla="*/ 70 w 96"/>
                      <a:gd name="T45" fmla="*/ 80 h 115"/>
                      <a:gd name="T46" fmla="*/ 70 w 96"/>
                      <a:gd name="T47" fmla="*/ 103 h 115"/>
                      <a:gd name="T48" fmla="*/ 64 w 96"/>
                      <a:gd name="T49" fmla="*/ 109 h 115"/>
                      <a:gd name="T50" fmla="*/ 57 w 96"/>
                      <a:gd name="T51" fmla="*/ 103 h 115"/>
                      <a:gd name="T52" fmla="*/ 57 w 96"/>
                      <a:gd name="T53" fmla="*/ 80 h 115"/>
                      <a:gd name="T54" fmla="*/ 54 w 96"/>
                      <a:gd name="T55" fmla="*/ 77 h 115"/>
                      <a:gd name="T56" fmla="*/ 41 w 96"/>
                      <a:gd name="T57" fmla="*/ 77 h 115"/>
                      <a:gd name="T58" fmla="*/ 38 w 96"/>
                      <a:gd name="T59" fmla="*/ 80 h 115"/>
                      <a:gd name="T60" fmla="*/ 38 w 96"/>
                      <a:gd name="T61" fmla="*/ 103 h 115"/>
                      <a:gd name="T62" fmla="*/ 32 w 96"/>
                      <a:gd name="T63" fmla="*/ 109 h 115"/>
                      <a:gd name="T64" fmla="*/ 25 w 96"/>
                      <a:gd name="T65" fmla="*/ 103 h 115"/>
                      <a:gd name="T66" fmla="*/ 25 w 96"/>
                      <a:gd name="T67" fmla="*/ 80 h 115"/>
                      <a:gd name="T68" fmla="*/ 22 w 96"/>
                      <a:gd name="T69" fmla="*/ 77 h 115"/>
                      <a:gd name="T70" fmla="*/ 15 w 96"/>
                      <a:gd name="T71" fmla="*/ 77 h 115"/>
                      <a:gd name="T72" fmla="*/ 6 w 96"/>
                      <a:gd name="T73" fmla="*/ 68 h 115"/>
                      <a:gd name="T74" fmla="*/ 6 w 96"/>
                      <a:gd name="T75" fmla="*/ 7 h 115"/>
                      <a:gd name="T76" fmla="*/ 89 w 96"/>
                      <a:gd name="T77" fmla="*/ 7 h 115"/>
                      <a:gd name="T78" fmla="*/ 89 w 96"/>
                      <a:gd name="T79" fmla="*/ 68 h 115"/>
                      <a:gd name="T80" fmla="*/ 89 w 96"/>
                      <a:gd name="T81" fmla="*/ 68 h 115"/>
                      <a:gd name="T82" fmla="*/ 89 w 96"/>
                      <a:gd name="T83" fmla="*/ 68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96" h="115">
                        <a:moveTo>
                          <a:pt x="92" y="0"/>
                        </a:move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1" y="0"/>
                          <a:pt x="0" y="2"/>
                          <a:pt x="0" y="3"/>
                        </a:cubicBezTo>
                        <a:cubicBezTo>
                          <a:pt x="0" y="68"/>
                          <a:pt x="0" y="68"/>
                          <a:pt x="0" y="68"/>
                        </a:cubicBezTo>
                        <a:cubicBezTo>
                          <a:pt x="0" y="76"/>
                          <a:pt x="7" y="83"/>
                          <a:pt x="15" y="83"/>
                        </a:cubicBezTo>
                        <a:cubicBezTo>
                          <a:pt x="19" y="83"/>
                          <a:pt x="19" y="83"/>
                          <a:pt x="19" y="83"/>
                        </a:cubicBezTo>
                        <a:cubicBezTo>
                          <a:pt x="19" y="103"/>
                          <a:pt x="19" y="103"/>
                          <a:pt x="19" y="103"/>
                        </a:cubicBezTo>
                        <a:cubicBezTo>
                          <a:pt x="19" y="110"/>
                          <a:pt x="25" y="115"/>
                          <a:pt x="32" y="115"/>
                        </a:cubicBezTo>
                        <a:cubicBezTo>
                          <a:pt x="39" y="115"/>
                          <a:pt x="44" y="110"/>
                          <a:pt x="44" y="103"/>
                        </a:cubicBezTo>
                        <a:cubicBezTo>
                          <a:pt x="44" y="83"/>
                          <a:pt x="44" y="83"/>
                          <a:pt x="44" y="83"/>
                        </a:cubicBezTo>
                        <a:cubicBezTo>
                          <a:pt x="51" y="83"/>
                          <a:pt x="51" y="83"/>
                          <a:pt x="51" y="83"/>
                        </a:cubicBezTo>
                        <a:cubicBezTo>
                          <a:pt x="51" y="103"/>
                          <a:pt x="51" y="103"/>
                          <a:pt x="51" y="103"/>
                        </a:cubicBezTo>
                        <a:cubicBezTo>
                          <a:pt x="51" y="110"/>
                          <a:pt x="57" y="115"/>
                          <a:pt x="64" y="115"/>
                        </a:cubicBezTo>
                        <a:cubicBezTo>
                          <a:pt x="71" y="115"/>
                          <a:pt x="76" y="110"/>
                          <a:pt x="76" y="103"/>
                        </a:cubicBezTo>
                        <a:cubicBezTo>
                          <a:pt x="76" y="83"/>
                          <a:pt x="76" y="83"/>
                          <a:pt x="76" y="83"/>
                        </a:cubicBezTo>
                        <a:cubicBezTo>
                          <a:pt x="80" y="83"/>
                          <a:pt x="80" y="83"/>
                          <a:pt x="80" y="83"/>
                        </a:cubicBezTo>
                        <a:cubicBezTo>
                          <a:pt x="89" y="83"/>
                          <a:pt x="96" y="76"/>
                          <a:pt x="96" y="68"/>
                        </a:cubicBezTo>
                        <a:cubicBezTo>
                          <a:pt x="96" y="3"/>
                          <a:pt x="96" y="3"/>
                          <a:pt x="96" y="3"/>
                        </a:cubicBezTo>
                        <a:cubicBezTo>
                          <a:pt x="96" y="2"/>
                          <a:pt x="94" y="0"/>
                          <a:pt x="92" y="0"/>
                        </a:cubicBezTo>
                        <a:close/>
                        <a:moveTo>
                          <a:pt x="89" y="68"/>
                        </a:moveTo>
                        <a:cubicBezTo>
                          <a:pt x="89" y="73"/>
                          <a:pt x="85" y="77"/>
                          <a:pt x="80" y="77"/>
                        </a:cubicBezTo>
                        <a:cubicBezTo>
                          <a:pt x="73" y="77"/>
                          <a:pt x="73" y="77"/>
                          <a:pt x="73" y="77"/>
                        </a:cubicBezTo>
                        <a:cubicBezTo>
                          <a:pt x="71" y="77"/>
                          <a:pt x="70" y="78"/>
                          <a:pt x="70" y="80"/>
                        </a:cubicBezTo>
                        <a:cubicBezTo>
                          <a:pt x="70" y="103"/>
                          <a:pt x="70" y="103"/>
                          <a:pt x="70" y="103"/>
                        </a:cubicBezTo>
                        <a:cubicBezTo>
                          <a:pt x="70" y="106"/>
                          <a:pt x="67" y="109"/>
                          <a:pt x="64" y="109"/>
                        </a:cubicBezTo>
                        <a:cubicBezTo>
                          <a:pt x="60" y="109"/>
                          <a:pt x="57" y="106"/>
                          <a:pt x="57" y="103"/>
                        </a:cubicBezTo>
                        <a:cubicBezTo>
                          <a:pt x="57" y="80"/>
                          <a:pt x="57" y="80"/>
                          <a:pt x="57" y="80"/>
                        </a:cubicBezTo>
                        <a:cubicBezTo>
                          <a:pt x="57" y="78"/>
                          <a:pt x="56" y="77"/>
                          <a:pt x="54" y="77"/>
                        </a:cubicBezTo>
                        <a:cubicBezTo>
                          <a:pt x="41" y="77"/>
                          <a:pt x="41" y="77"/>
                          <a:pt x="41" y="77"/>
                        </a:cubicBezTo>
                        <a:cubicBezTo>
                          <a:pt x="39" y="77"/>
                          <a:pt x="38" y="78"/>
                          <a:pt x="38" y="80"/>
                        </a:cubicBezTo>
                        <a:cubicBezTo>
                          <a:pt x="38" y="103"/>
                          <a:pt x="38" y="103"/>
                          <a:pt x="38" y="103"/>
                        </a:cubicBezTo>
                        <a:cubicBezTo>
                          <a:pt x="38" y="106"/>
                          <a:pt x="35" y="109"/>
                          <a:pt x="32" y="109"/>
                        </a:cubicBezTo>
                        <a:cubicBezTo>
                          <a:pt x="28" y="109"/>
                          <a:pt x="25" y="106"/>
                          <a:pt x="25" y="103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78"/>
                          <a:pt x="24" y="77"/>
                          <a:pt x="22" y="77"/>
                        </a:cubicBezTo>
                        <a:cubicBezTo>
                          <a:pt x="15" y="77"/>
                          <a:pt x="15" y="77"/>
                          <a:pt x="15" y="77"/>
                        </a:cubicBezTo>
                        <a:cubicBezTo>
                          <a:pt x="10" y="77"/>
                          <a:pt x="6" y="73"/>
                          <a:pt x="6" y="68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89" y="7"/>
                          <a:pt x="89" y="7"/>
                          <a:pt x="89" y="7"/>
                        </a:cubicBezTo>
                        <a:lnTo>
                          <a:pt x="89" y="68"/>
                        </a:lnTo>
                        <a:close/>
                        <a:moveTo>
                          <a:pt x="89" y="68"/>
                        </a:moveTo>
                        <a:cubicBezTo>
                          <a:pt x="89" y="68"/>
                          <a:pt x="89" y="68"/>
                          <a:pt x="89" y="68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4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5429251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8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8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85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5351463" y="3805238"/>
                    <a:ext cx="14288" cy="33338"/>
                  </a:xfrm>
                  <a:custGeom>
                    <a:avLst/>
                    <a:gdLst>
                      <a:gd name="T0" fmla="*/ 11 w 22"/>
                      <a:gd name="T1" fmla="*/ 0 h 67"/>
                      <a:gd name="T2" fmla="*/ 0 w 22"/>
                      <a:gd name="T3" fmla="*/ 11 h 67"/>
                      <a:gd name="T4" fmla="*/ 0 w 22"/>
                      <a:gd name="T5" fmla="*/ 56 h 67"/>
                      <a:gd name="T6" fmla="*/ 11 w 22"/>
                      <a:gd name="T7" fmla="*/ 67 h 67"/>
                      <a:gd name="T8" fmla="*/ 22 w 22"/>
                      <a:gd name="T9" fmla="*/ 56 h 67"/>
                      <a:gd name="T10" fmla="*/ 22 w 22"/>
                      <a:gd name="T11" fmla="*/ 11 h 67"/>
                      <a:gd name="T12" fmla="*/ 11 w 22"/>
                      <a:gd name="T13" fmla="*/ 0 h 67"/>
                      <a:gd name="T14" fmla="*/ 16 w 22"/>
                      <a:gd name="T15" fmla="*/ 56 h 67"/>
                      <a:gd name="T16" fmla="*/ 11 w 22"/>
                      <a:gd name="T17" fmla="*/ 61 h 67"/>
                      <a:gd name="T18" fmla="*/ 6 w 22"/>
                      <a:gd name="T19" fmla="*/ 56 h 67"/>
                      <a:gd name="T20" fmla="*/ 6 w 22"/>
                      <a:gd name="T21" fmla="*/ 11 h 67"/>
                      <a:gd name="T22" fmla="*/ 11 w 22"/>
                      <a:gd name="T23" fmla="*/ 7 h 67"/>
                      <a:gd name="T24" fmla="*/ 16 w 22"/>
                      <a:gd name="T25" fmla="*/ 11 h 67"/>
                      <a:gd name="T26" fmla="*/ 16 w 22"/>
                      <a:gd name="T27" fmla="*/ 56 h 67"/>
                      <a:gd name="T28" fmla="*/ 16 w 22"/>
                      <a:gd name="T29" fmla="*/ 56 h 67"/>
                      <a:gd name="T30" fmla="*/ 16 w 22"/>
                      <a:gd name="T31" fmla="*/ 56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" h="67">
                        <a:moveTo>
                          <a:pt x="11" y="0"/>
                        </a:moveTo>
                        <a:cubicBezTo>
                          <a:pt x="5" y="0"/>
                          <a:pt x="0" y="5"/>
                          <a:pt x="0" y="11"/>
                        </a:cubicBezTo>
                        <a:cubicBezTo>
                          <a:pt x="0" y="56"/>
                          <a:pt x="0" y="56"/>
                          <a:pt x="0" y="56"/>
                        </a:cubicBezTo>
                        <a:cubicBezTo>
                          <a:pt x="0" y="62"/>
                          <a:pt x="5" y="67"/>
                          <a:pt x="11" y="67"/>
                        </a:cubicBezTo>
                        <a:cubicBezTo>
                          <a:pt x="17" y="67"/>
                          <a:pt x="22" y="62"/>
                          <a:pt x="22" y="56"/>
                        </a:cubicBezTo>
                        <a:cubicBezTo>
                          <a:pt x="22" y="11"/>
                          <a:pt x="22" y="11"/>
                          <a:pt x="22" y="11"/>
                        </a:cubicBezTo>
                        <a:cubicBezTo>
                          <a:pt x="22" y="5"/>
                          <a:pt x="17" y="0"/>
                          <a:pt x="11" y="0"/>
                        </a:cubicBezTo>
                        <a:close/>
                        <a:moveTo>
                          <a:pt x="16" y="56"/>
                        </a:moveTo>
                        <a:cubicBezTo>
                          <a:pt x="16" y="59"/>
                          <a:pt x="14" y="61"/>
                          <a:pt x="11" y="61"/>
                        </a:cubicBezTo>
                        <a:cubicBezTo>
                          <a:pt x="9" y="61"/>
                          <a:pt x="6" y="59"/>
                          <a:pt x="6" y="56"/>
                        </a:cubicBezTo>
                        <a:cubicBezTo>
                          <a:pt x="6" y="11"/>
                          <a:pt x="6" y="11"/>
                          <a:pt x="6" y="11"/>
                        </a:cubicBezTo>
                        <a:cubicBezTo>
                          <a:pt x="6" y="9"/>
                          <a:pt x="9" y="7"/>
                          <a:pt x="11" y="7"/>
                        </a:cubicBezTo>
                        <a:cubicBezTo>
                          <a:pt x="14" y="7"/>
                          <a:pt x="16" y="9"/>
                          <a:pt x="16" y="11"/>
                        </a:cubicBezTo>
                        <a:lnTo>
                          <a:pt x="16" y="56"/>
                        </a:lnTo>
                        <a:close/>
                        <a:moveTo>
                          <a:pt x="16" y="56"/>
                        </a:moveTo>
                        <a:cubicBezTo>
                          <a:pt x="16" y="56"/>
                          <a:pt x="16" y="56"/>
                          <a:pt x="16" y="56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77" name="Group 176"/>
                <p:cNvGrpSpPr/>
                <p:nvPr/>
              </p:nvGrpSpPr>
              <p:grpSpPr>
                <a:xfrm>
                  <a:off x="5313424" y="3654826"/>
                  <a:ext cx="72041" cy="82784"/>
                  <a:chOff x="5251450" y="4203700"/>
                  <a:chExt cx="180975" cy="207963"/>
                </a:xfrm>
                <a:solidFill>
                  <a:schemeClr val="tx2"/>
                </a:solidFill>
              </p:grpSpPr>
              <p:sp>
                <p:nvSpPr>
                  <p:cNvPr id="178" name="Freeform 14"/>
                  <p:cNvSpPr>
                    <a:spLocks noEditPoints="1"/>
                  </p:cNvSpPr>
                  <p:nvPr/>
                </p:nvSpPr>
                <p:spPr bwMode="auto">
                  <a:xfrm>
                    <a:off x="5251450" y="4244975"/>
                    <a:ext cx="180975" cy="166688"/>
                  </a:xfrm>
                  <a:custGeom>
                    <a:avLst/>
                    <a:gdLst>
                      <a:gd name="T0" fmla="*/ 571 w 1771"/>
                      <a:gd name="T1" fmla="*/ 1638 h 1638"/>
                      <a:gd name="T2" fmla="*/ 194 w 1771"/>
                      <a:gd name="T3" fmla="*/ 1333 h 1638"/>
                      <a:gd name="T4" fmla="*/ 0 w 1771"/>
                      <a:gd name="T5" fmla="*/ 632 h 1638"/>
                      <a:gd name="T6" fmla="*/ 614 w 1771"/>
                      <a:gd name="T7" fmla="*/ 7 h 1638"/>
                      <a:gd name="T8" fmla="*/ 801 w 1771"/>
                      <a:gd name="T9" fmla="*/ 68 h 1638"/>
                      <a:gd name="T10" fmla="*/ 938 w 1771"/>
                      <a:gd name="T11" fmla="*/ 115 h 1638"/>
                      <a:gd name="T12" fmla="*/ 1142 w 1771"/>
                      <a:gd name="T13" fmla="*/ 53 h 1638"/>
                      <a:gd name="T14" fmla="*/ 1315 w 1771"/>
                      <a:gd name="T15" fmla="*/ 0 h 1638"/>
                      <a:gd name="T16" fmla="*/ 1699 w 1771"/>
                      <a:gd name="T17" fmla="*/ 212 h 1638"/>
                      <a:gd name="T18" fmla="*/ 1728 w 1771"/>
                      <a:gd name="T19" fmla="*/ 248 h 1638"/>
                      <a:gd name="T20" fmla="*/ 1685 w 1771"/>
                      <a:gd name="T21" fmla="*/ 269 h 1638"/>
                      <a:gd name="T22" fmla="*/ 1512 w 1771"/>
                      <a:gd name="T23" fmla="*/ 607 h 1638"/>
                      <a:gd name="T24" fmla="*/ 1750 w 1771"/>
                      <a:gd name="T25" fmla="*/ 980 h 1638"/>
                      <a:gd name="T26" fmla="*/ 1768 w 1771"/>
                      <a:gd name="T27" fmla="*/ 991 h 1638"/>
                      <a:gd name="T28" fmla="*/ 1768 w 1771"/>
                      <a:gd name="T29" fmla="*/ 1027 h 1638"/>
                      <a:gd name="T30" fmla="*/ 1768 w 1771"/>
                      <a:gd name="T31" fmla="*/ 1034 h 1638"/>
                      <a:gd name="T32" fmla="*/ 1771 w 1771"/>
                      <a:gd name="T33" fmla="*/ 1056 h 1638"/>
                      <a:gd name="T34" fmla="*/ 1247 w 1771"/>
                      <a:gd name="T35" fmla="*/ 1634 h 1638"/>
                      <a:gd name="T36" fmla="*/ 1078 w 1771"/>
                      <a:gd name="T37" fmla="*/ 1595 h 1638"/>
                      <a:gd name="T38" fmla="*/ 916 w 1771"/>
                      <a:gd name="T39" fmla="*/ 1555 h 1638"/>
                      <a:gd name="T40" fmla="*/ 729 w 1771"/>
                      <a:gd name="T41" fmla="*/ 1602 h 1638"/>
                      <a:gd name="T42" fmla="*/ 571 w 1771"/>
                      <a:gd name="T43" fmla="*/ 1638 h 1638"/>
                      <a:gd name="T44" fmla="*/ 614 w 1771"/>
                      <a:gd name="T45" fmla="*/ 79 h 1638"/>
                      <a:gd name="T46" fmla="*/ 72 w 1771"/>
                      <a:gd name="T47" fmla="*/ 632 h 1638"/>
                      <a:gd name="T48" fmla="*/ 258 w 1771"/>
                      <a:gd name="T49" fmla="*/ 1300 h 1638"/>
                      <a:gd name="T50" fmla="*/ 571 w 1771"/>
                      <a:gd name="T51" fmla="*/ 1566 h 1638"/>
                      <a:gd name="T52" fmla="*/ 700 w 1771"/>
                      <a:gd name="T53" fmla="*/ 1530 h 1638"/>
                      <a:gd name="T54" fmla="*/ 912 w 1771"/>
                      <a:gd name="T55" fmla="*/ 1480 h 1638"/>
                      <a:gd name="T56" fmla="*/ 1099 w 1771"/>
                      <a:gd name="T57" fmla="*/ 1523 h 1638"/>
                      <a:gd name="T58" fmla="*/ 1247 w 1771"/>
                      <a:gd name="T59" fmla="*/ 1559 h 1638"/>
                      <a:gd name="T60" fmla="*/ 1699 w 1771"/>
                      <a:gd name="T61" fmla="*/ 1052 h 1638"/>
                      <a:gd name="T62" fmla="*/ 1699 w 1771"/>
                      <a:gd name="T63" fmla="*/ 1042 h 1638"/>
                      <a:gd name="T64" fmla="*/ 1699 w 1771"/>
                      <a:gd name="T65" fmla="*/ 1031 h 1638"/>
                      <a:gd name="T66" fmla="*/ 1444 w 1771"/>
                      <a:gd name="T67" fmla="*/ 607 h 1638"/>
                      <a:gd name="T68" fmla="*/ 1624 w 1771"/>
                      <a:gd name="T69" fmla="*/ 230 h 1638"/>
                      <a:gd name="T70" fmla="*/ 1318 w 1771"/>
                      <a:gd name="T71" fmla="*/ 75 h 1638"/>
                      <a:gd name="T72" fmla="*/ 1175 w 1771"/>
                      <a:gd name="T73" fmla="*/ 122 h 1638"/>
                      <a:gd name="T74" fmla="*/ 941 w 1771"/>
                      <a:gd name="T75" fmla="*/ 190 h 1638"/>
                      <a:gd name="T76" fmla="*/ 769 w 1771"/>
                      <a:gd name="T77" fmla="*/ 133 h 1638"/>
                      <a:gd name="T78" fmla="*/ 614 w 1771"/>
                      <a:gd name="T79" fmla="*/ 79 h 16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1771" h="1638">
                        <a:moveTo>
                          <a:pt x="571" y="1638"/>
                        </a:moveTo>
                        <a:cubicBezTo>
                          <a:pt x="435" y="1638"/>
                          <a:pt x="305" y="1534"/>
                          <a:pt x="194" y="1333"/>
                        </a:cubicBezTo>
                        <a:cubicBezTo>
                          <a:pt x="50" y="1074"/>
                          <a:pt x="0" y="794"/>
                          <a:pt x="0" y="632"/>
                        </a:cubicBezTo>
                        <a:cubicBezTo>
                          <a:pt x="0" y="337"/>
                          <a:pt x="251" y="7"/>
                          <a:pt x="614" y="7"/>
                        </a:cubicBezTo>
                        <a:cubicBezTo>
                          <a:pt x="697" y="7"/>
                          <a:pt x="751" y="39"/>
                          <a:pt x="801" y="68"/>
                        </a:cubicBezTo>
                        <a:cubicBezTo>
                          <a:pt x="844" y="93"/>
                          <a:pt x="884" y="115"/>
                          <a:pt x="938" y="115"/>
                        </a:cubicBezTo>
                        <a:cubicBezTo>
                          <a:pt x="1017" y="115"/>
                          <a:pt x="1081" y="86"/>
                          <a:pt x="1142" y="53"/>
                        </a:cubicBezTo>
                        <a:cubicBezTo>
                          <a:pt x="1200" y="25"/>
                          <a:pt x="1254" y="0"/>
                          <a:pt x="1315" y="0"/>
                        </a:cubicBezTo>
                        <a:cubicBezTo>
                          <a:pt x="1505" y="0"/>
                          <a:pt x="1627" y="122"/>
                          <a:pt x="1699" y="212"/>
                        </a:cubicBezTo>
                        <a:cubicBezTo>
                          <a:pt x="1728" y="248"/>
                          <a:pt x="1728" y="248"/>
                          <a:pt x="1728" y="248"/>
                        </a:cubicBezTo>
                        <a:cubicBezTo>
                          <a:pt x="1685" y="269"/>
                          <a:pt x="1685" y="269"/>
                          <a:pt x="1685" y="269"/>
                        </a:cubicBezTo>
                        <a:cubicBezTo>
                          <a:pt x="1573" y="348"/>
                          <a:pt x="1512" y="467"/>
                          <a:pt x="1512" y="607"/>
                        </a:cubicBezTo>
                        <a:cubicBezTo>
                          <a:pt x="1512" y="772"/>
                          <a:pt x="1588" y="894"/>
                          <a:pt x="1750" y="980"/>
                        </a:cubicBezTo>
                        <a:cubicBezTo>
                          <a:pt x="1768" y="991"/>
                          <a:pt x="1768" y="991"/>
                          <a:pt x="1768" y="991"/>
                        </a:cubicBezTo>
                        <a:cubicBezTo>
                          <a:pt x="1768" y="1027"/>
                          <a:pt x="1768" y="1027"/>
                          <a:pt x="1768" y="1027"/>
                        </a:cubicBezTo>
                        <a:cubicBezTo>
                          <a:pt x="1768" y="1031"/>
                          <a:pt x="1768" y="1031"/>
                          <a:pt x="1768" y="1034"/>
                        </a:cubicBezTo>
                        <a:cubicBezTo>
                          <a:pt x="1768" y="1042"/>
                          <a:pt x="1771" y="1049"/>
                          <a:pt x="1771" y="1056"/>
                        </a:cubicBezTo>
                        <a:cubicBezTo>
                          <a:pt x="1771" y="1279"/>
                          <a:pt x="1530" y="1634"/>
                          <a:pt x="1247" y="1634"/>
                        </a:cubicBezTo>
                        <a:cubicBezTo>
                          <a:pt x="1189" y="1634"/>
                          <a:pt x="1132" y="1613"/>
                          <a:pt x="1078" y="1595"/>
                        </a:cubicBezTo>
                        <a:cubicBezTo>
                          <a:pt x="1024" y="1577"/>
                          <a:pt x="970" y="1555"/>
                          <a:pt x="916" y="1555"/>
                        </a:cubicBezTo>
                        <a:cubicBezTo>
                          <a:pt x="851" y="1555"/>
                          <a:pt x="787" y="1577"/>
                          <a:pt x="729" y="1602"/>
                        </a:cubicBezTo>
                        <a:cubicBezTo>
                          <a:pt x="672" y="1620"/>
                          <a:pt x="621" y="1638"/>
                          <a:pt x="571" y="1638"/>
                        </a:cubicBezTo>
                        <a:close/>
                        <a:moveTo>
                          <a:pt x="614" y="79"/>
                        </a:moveTo>
                        <a:cubicBezTo>
                          <a:pt x="359" y="79"/>
                          <a:pt x="72" y="305"/>
                          <a:pt x="72" y="632"/>
                        </a:cubicBezTo>
                        <a:cubicBezTo>
                          <a:pt x="72" y="786"/>
                          <a:pt x="122" y="1052"/>
                          <a:pt x="258" y="1300"/>
                        </a:cubicBezTo>
                        <a:cubicBezTo>
                          <a:pt x="323" y="1422"/>
                          <a:pt x="435" y="1566"/>
                          <a:pt x="571" y="1566"/>
                        </a:cubicBezTo>
                        <a:cubicBezTo>
                          <a:pt x="607" y="1566"/>
                          <a:pt x="654" y="1548"/>
                          <a:pt x="700" y="1530"/>
                        </a:cubicBezTo>
                        <a:cubicBezTo>
                          <a:pt x="761" y="1505"/>
                          <a:pt x="833" y="1480"/>
                          <a:pt x="912" y="1480"/>
                        </a:cubicBezTo>
                        <a:cubicBezTo>
                          <a:pt x="977" y="1480"/>
                          <a:pt x="1038" y="1501"/>
                          <a:pt x="1099" y="1523"/>
                        </a:cubicBezTo>
                        <a:cubicBezTo>
                          <a:pt x="1150" y="1541"/>
                          <a:pt x="1200" y="1559"/>
                          <a:pt x="1247" y="1559"/>
                        </a:cubicBezTo>
                        <a:cubicBezTo>
                          <a:pt x="1419" y="1559"/>
                          <a:pt x="1699" y="1322"/>
                          <a:pt x="1699" y="1052"/>
                        </a:cubicBezTo>
                        <a:cubicBezTo>
                          <a:pt x="1699" y="1049"/>
                          <a:pt x="1699" y="1045"/>
                          <a:pt x="1699" y="1042"/>
                        </a:cubicBezTo>
                        <a:cubicBezTo>
                          <a:pt x="1699" y="1038"/>
                          <a:pt x="1699" y="1034"/>
                          <a:pt x="1699" y="1031"/>
                        </a:cubicBezTo>
                        <a:cubicBezTo>
                          <a:pt x="1527" y="934"/>
                          <a:pt x="1444" y="794"/>
                          <a:pt x="1444" y="607"/>
                        </a:cubicBezTo>
                        <a:cubicBezTo>
                          <a:pt x="1444" y="452"/>
                          <a:pt x="1509" y="319"/>
                          <a:pt x="1624" y="230"/>
                        </a:cubicBezTo>
                        <a:cubicBezTo>
                          <a:pt x="1556" y="151"/>
                          <a:pt x="1459" y="75"/>
                          <a:pt x="1318" y="75"/>
                        </a:cubicBezTo>
                        <a:cubicBezTo>
                          <a:pt x="1272" y="75"/>
                          <a:pt x="1229" y="97"/>
                          <a:pt x="1175" y="122"/>
                        </a:cubicBezTo>
                        <a:cubicBezTo>
                          <a:pt x="1110" y="154"/>
                          <a:pt x="1035" y="190"/>
                          <a:pt x="941" y="190"/>
                        </a:cubicBezTo>
                        <a:cubicBezTo>
                          <a:pt x="869" y="190"/>
                          <a:pt x="819" y="161"/>
                          <a:pt x="769" y="133"/>
                        </a:cubicBezTo>
                        <a:cubicBezTo>
                          <a:pt x="718" y="104"/>
                          <a:pt x="675" y="79"/>
                          <a:pt x="614" y="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179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5341938" y="4203700"/>
                    <a:ext cx="46038" cy="60325"/>
                  </a:xfrm>
                  <a:custGeom>
                    <a:avLst/>
                    <a:gdLst>
                      <a:gd name="T0" fmla="*/ 43 w 446"/>
                      <a:gd name="T1" fmla="*/ 600 h 600"/>
                      <a:gd name="T2" fmla="*/ 22 w 446"/>
                      <a:gd name="T3" fmla="*/ 593 h 600"/>
                      <a:gd name="T4" fmla="*/ 7 w 446"/>
                      <a:gd name="T5" fmla="*/ 565 h 600"/>
                      <a:gd name="T6" fmla="*/ 7 w 446"/>
                      <a:gd name="T7" fmla="*/ 557 h 600"/>
                      <a:gd name="T8" fmla="*/ 0 w 446"/>
                      <a:gd name="T9" fmla="*/ 475 h 600"/>
                      <a:gd name="T10" fmla="*/ 392 w 446"/>
                      <a:gd name="T11" fmla="*/ 4 h 600"/>
                      <a:gd name="T12" fmla="*/ 421 w 446"/>
                      <a:gd name="T13" fmla="*/ 8 h 600"/>
                      <a:gd name="T14" fmla="*/ 439 w 446"/>
                      <a:gd name="T15" fmla="*/ 29 h 600"/>
                      <a:gd name="T16" fmla="*/ 442 w 446"/>
                      <a:gd name="T17" fmla="*/ 40 h 600"/>
                      <a:gd name="T18" fmla="*/ 442 w 446"/>
                      <a:gd name="T19" fmla="*/ 44 h 600"/>
                      <a:gd name="T20" fmla="*/ 442 w 446"/>
                      <a:gd name="T21" fmla="*/ 51 h 600"/>
                      <a:gd name="T22" fmla="*/ 446 w 446"/>
                      <a:gd name="T23" fmla="*/ 119 h 600"/>
                      <a:gd name="T24" fmla="*/ 54 w 446"/>
                      <a:gd name="T25" fmla="*/ 597 h 600"/>
                      <a:gd name="T26" fmla="*/ 43 w 446"/>
                      <a:gd name="T27" fmla="*/ 600 h 600"/>
                      <a:gd name="T28" fmla="*/ 370 w 446"/>
                      <a:gd name="T29" fmla="*/ 87 h 600"/>
                      <a:gd name="T30" fmla="*/ 68 w 446"/>
                      <a:gd name="T31" fmla="*/ 475 h 600"/>
                      <a:gd name="T32" fmla="*/ 72 w 446"/>
                      <a:gd name="T33" fmla="*/ 518 h 600"/>
                      <a:gd name="T34" fmla="*/ 370 w 446"/>
                      <a:gd name="T35" fmla="*/ 123 h 600"/>
                      <a:gd name="T36" fmla="*/ 370 w 446"/>
                      <a:gd name="T37" fmla="*/ 87 h 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446" h="600">
                        <a:moveTo>
                          <a:pt x="43" y="600"/>
                        </a:moveTo>
                        <a:cubicBezTo>
                          <a:pt x="36" y="600"/>
                          <a:pt x="29" y="597"/>
                          <a:pt x="22" y="593"/>
                        </a:cubicBezTo>
                        <a:cubicBezTo>
                          <a:pt x="11" y="586"/>
                          <a:pt x="7" y="575"/>
                          <a:pt x="7" y="565"/>
                        </a:cubicBezTo>
                        <a:cubicBezTo>
                          <a:pt x="7" y="557"/>
                          <a:pt x="7" y="557"/>
                          <a:pt x="7" y="557"/>
                        </a:cubicBezTo>
                        <a:cubicBezTo>
                          <a:pt x="0" y="525"/>
                          <a:pt x="0" y="500"/>
                          <a:pt x="0" y="475"/>
                        </a:cubicBezTo>
                        <a:cubicBezTo>
                          <a:pt x="0" y="209"/>
                          <a:pt x="201" y="58"/>
                          <a:pt x="392" y="4"/>
                        </a:cubicBezTo>
                        <a:cubicBezTo>
                          <a:pt x="403" y="0"/>
                          <a:pt x="410" y="4"/>
                          <a:pt x="421" y="8"/>
                        </a:cubicBezTo>
                        <a:cubicBezTo>
                          <a:pt x="431" y="11"/>
                          <a:pt x="435" y="22"/>
                          <a:pt x="439" y="29"/>
                        </a:cubicBezTo>
                        <a:cubicBezTo>
                          <a:pt x="442" y="40"/>
                          <a:pt x="442" y="40"/>
                          <a:pt x="442" y="40"/>
                        </a:cubicBezTo>
                        <a:cubicBezTo>
                          <a:pt x="442" y="44"/>
                          <a:pt x="442" y="44"/>
                          <a:pt x="442" y="44"/>
                        </a:cubicBezTo>
                        <a:cubicBezTo>
                          <a:pt x="442" y="51"/>
                          <a:pt x="442" y="51"/>
                          <a:pt x="442" y="51"/>
                        </a:cubicBezTo>
                        <a:cubicBezTo>
                          <a:pt x="446" y="76"/>
                          <a:pt x="446" y="97"/>
                          <a:pt x="446" y="119"/>
                        </a:cubicBezTo>
                        <a:cubicBezTo>
                          <a:pt x="446" y="345"/>
                          <a:pt x="302" y="521"/>
                          <a:pt x="54" y="597"/>
                        </a:cubicBezTo>
                        <a:cubicBezTo>
                          <a:pt x="51" y="600"/>
                          <a:pt x="47" y="600"/>
                          <a:pt x="43" y="600"/>
                        </a:cubicBezTo>
                        <a:close/>
                        <a:moveTo>
                          <a:pt x="370" y="87"/>
                        </a:moveTo>
                        <a:cubicBezTo>
                          <a:pt x="219" y="141"/>
                          <a:pt x="68" y="266"/>
                          <a:pt x="68" y="475"/>
                        </a:cubicBezTo>
                        <a:cubicBezTo>
                          <a:pt x="68" y="485"/>
                          <a:pt x="68" y="500"/>
                          <a:pt x="72" y="518"/>
                        </a:cubicBezTo>
                        <a:cubicBezTo>
                          <a:pt x="187" y="475"/>
                          <a:pt x="370" y="367"/>
                          <a:pt x="370" y="123"/>
                        </a:cubicBezTo>
                        <a:cubicBezTo>
                          <a:pt x="374" y="112"/>
                          <a:pt x="374" y="101"/>
                          <a:pt x="370" y="8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sp>
            <p:nvSpPr>
              <p:cNvPr id="368" name="TextBox 367"/>
              <p:cNvSpPr txBox="1"/>
              <p:nvPr/>
            </p:nvSpPr>
            <p:spPr>
              <a:xfrm>
                <a:off x="3798865" y="4066747"/>
                <a:ext cx="219611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Native</a:t>
                </a:r>
              </a:p>
            </p:txBody>
          </p:sp>
        </p:grpSp>
      </p:grpSp>
      <p:grpSp>
        <p:nvGrpSpPr>
          <p:cNvPr id="164" name="Group 163"/>
          <p:cNvGrpSpPr/>
          <p:nvPr/>
        </p:nvGrpSpPr>
        <p:grpSpPr>
          <a:xfrm>
            <a:off x="5462899" y="4317030"/>
            <a:ext cx="512615" cy="512615"/>
            <a:chOff x="2696765" y="4100234"/>
            <a:chExt cx="502920" cy="502920"/>
          </a:xfrm>
        </p:grpSpPr>
        <p:sp>
          <p:nvSpPr>
            <p:cNvPr id="112" name="Oval 111"/>
            <p:cNvSpPr/>
            <p:nvPr/>
          </p:nvSpPr>
          <p:spPr>
            <a:xfrm>
              <a:off x="2696765" y="410023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83" name="Group 382"/>
            <p:cNvGrpSpPr/>
            <p:nvPr/>
          </p:nvGrpSpPr>
          <p:grpSpPr>
            <a:xfrm>
              <a:off x="2813709" y="4163474"/>
              <a:ext cx="259686" cy="373163"/>
              <a:chOff x="2809898" y="4163474"/>
              <a:chExt cx="259686" cy="373163"/>
            </a:xfrm>
          </p:grpSpPr>
          <p:grpSp>
            <p:nvGrpSpPr>
              <p:cNvPr id="121" name="Group 166"/>
              <p:cNvGrpSpPr>
                <a:grpSpLocks noChangeAspect="1"/>
              </p:cNvGrpSpPr>
              <p:nvPr/>
            </p:nvGrpSpPr>
            <p:grpSpPr bwMode="auto">
              <a:xfrm>
                <a:off x="2854848" y="4163474"/>
                <a:ext cx="169786" cy="176198"/>
                <a:chOff x="1234" y="2186"/>
                <a:chExt cx="662" cy="687"/>
              </a:xfrm>
              <a:solidFill>
                <a:schemeClr val="tx2"/>
              </a:solidFill>
            </p:grpSpPr>
            <p:sp>
              <p:nvSpPr>
                <p:cNvPr id="122" name="Freeform 167"/>
                <p:cNvSpPr>
                  <a:spLocks/>
                </p:cNvSpPr>
                <p:nvPr/>
              </p:nvSpPr>
              <p:spPr bwMode="auto">
                <a:xfrm>
                  <a:off x="1234" y="2506"/>
                  <a:ext cx="662" cy="367"/>
                </a:xfrm>
                <a:custGeom>
                  <a:avLst/>
                  <a:gdLst>
                    <a:gd name="T0" fmla="*/ 495 w 662"/>
                    <a:gd name="T1" fmla="*/ 0 h 367"/>
                    <a:gd name="T2" fmla="*/ 495 w 662"/>
                    <a:gd name="T3" fmla="*/ 43 h 367"/>
                    <a:gd name="T4" fmla="*/ 619 w 662"/>
                    <a:gd name="T5" fmla="*/ 43 h 367"/>
                    <a:gd name="T6" fmla="*/ 619 w 662"/>
                    <a:gd name="T7" fmla="*/ 324 h 367"/>
                    <a:gd name="T8" fmla="*/ 41 w 662"/>
                    <a:gd name="T9" fmla="*/ 324 h 367"/>
                    <a:gd name="T10" fmla="*/ 41 w 662"/>
                    <a:gd name="T11" fmla="*/ 43 h 367"/>
                    <a:gd name="T12" fmla="*/ 170 w 662"/>
                    <a:gd name="T13" fmla="*/ 43 h 367"/>
                    <a:gd name="T14" fmla="*/ 170 w 662"/>
                    <a:gd name="T15" fmla="*/ 0 h 367"/>
                    <a:gd name="T16" fmla="*/ 0 w 662"/>
                    <a:gd name="T17" fmla="*/ 0 h 367"/>
                    <a:gd name="T18" fmla="*/ 0 w 662"/>
                    <a:gd name="T19" fmla="*/ 367 h 367"/>
                    <a:gd name="T20" fmla="*/ 662 w 662"/>
                    <a:gd name="T21" fmla="*/ 367 h 367"/>
                    <a:gd name="T22" fmla="*/ 662 w 662"/>
                    <a:gd name="T23" fmla="*/ 0 h 367"/>
                    <a:gd name="T24" fmla="*/ 495 w 662"/>
                    <a:gd name="T25" fmla="*/ 0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2" h="367">
                      <a:moveTo>
                        <a:pt x="495" y="0"/>
                      </a:moveTo>
                      <a:lnTo>
                        <a:pt x="495" y="43"/>
                      </a:lnTo>
                      <a:lnTo>
                        <a:pt x="619" y="43"/>
                      </a:lnTo>
                      <a:lnTo>
                        <a:pt x="619" y="324"/>
                      </a:lnTo>
                      <a:lnTo>
                        <a:pt x="41" y="324"/>
                      </a:lnTo>
                      <a:lnTo>
                        <a:pt x="41" y="43"/>
                      </a:lnTo>
                      <a:lnTo>
                        <a:pt x="170" y="43"/>
                      </a:lnTo>
                      <a:lnTo>
                        <a:pt x="170" y="0"/>
                      </a:lnTo>
                      <a:lnTo>
                        <a:pt x="0" y="0"/>
                      </a:lnTo>
                      <a:lnTo>
                        <a:pt x="0" y="367"/>
                      </a:lnTo>
                      <a:lnTo>
                        <a:pt x="662" y="367"/>
                      </a:lnTo>
                      <a:lnTo>
                        <a:pt x="662" y="0"/>
                      </a:lnTo>
                      <a:lnTo>
                        <a:pt x="49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latin typeface="+mn-lt"/>
                  </a:endParaRPr>
                </a:p>
              </p:txBody>
            </p:sp>
            <p:sp>
              <p:nvSpPr>
                <p:cNvPr id="123" name="Freeform 168"/>
                <p:cNvSpPr>
                  <a:spLocks/>
                </p:cNvSpPr>
                <p:nvPr/>
              </p:nvSpPr>
              <p:spPr bwMode="auto">
                <a:xfrm>
                  <a:off x="1363" y="2186"/>
                  <a:ext cx="399" cy="504"/>
                </a:xfrm>
                <a:custGeom>
                  <a:avLst/>
                  <a:gdLst>
                    <a:gd name="T0" fmla="*/ 179 w 399"/>
                    <a:gd name="T1" fmla="*/ 86 h 504"/>
                    <a:gd name="T2" fmla="*/ 179 w 399"/>
                    <a:gd name="T3" fmla="*/ 504 h 504"/>
                    <a:gd name="T4" fmla="*/ 220 w 399"/>
                    <a:gd name="T5" fmla="*/ 504 h 504"/>
                    <a:gd name="T6" fmla="*/ 220 w 399"/>
                    <a:gd name="T7" fmla="*/ 86 h 504"/>
                    <a:gd name="T8" fmla="*/ 368 w 399"/>
                    <a:gd name="T9" fmla="*/ 248 h 504"/>
                    <a:gd name="T10" fmla="*/ 399 w 399"/>
                    <a:gd name="T11" fmla="*/ 220 h 504"/>
                    <a:gd name="T12" fmla="*/ 201 w 399"/>
                    <a:gd name="T13" fmla="*/ 0 h 504"/>
                    <a:gd name="T14" fmla="*/ 0 w 399"/>
                    <a:gd name="T15" fmla="*/ 220 h 504"/>
                    <a:gd name="T16" fmla="*/ 31 w 399"/>
                    <a:gd name="T17" fmla="*/ 248 h 504"/>
                    <a:gd name="T18" fmla="*/ 179 w 399"/>
                    <a:gd name="T19" fmla="*/ 86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9" h="504">
                      <a:moveTo>
                        <a:pt x="179" y="86"/>
                      </a:moveTo>
                      <a:lnTo>
                        <a:pt x="179" y="504"/>
                      </a:lnTo>
                      <a:lnTo>
                        <a:pt x="220" y="504"/>
                      </a:lnTo>
                      <a:lnTo>
                        <a:pt x="220" y="86"/>
                      </a:lnTo>
                      <a:lnTo>
                        <a:pt x="368" y="248"/>
                      </a:lnTo>
                      <a:lnTo>
                        <a:pt x="399" y="220"/>
                      </a:lnTo>
                      <a:lnTo>
                        <a:pt x="201" y="0"/>
                      </a:lnTo>
                      <a:lnTo>
                        <a:pt x="0" y="220"/>
                      </a:lnTo>
                      <a:lnTo>
                        <a:pt x="31" y="248"/>
                      </a:lnTo>
                      <a:lnTo>
                        <a:pt x="179" y="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 dirty="0">
                    <a:latin typeface="+mn-lt"/>
                  </a:endParaRPr>
                </a:p>
              </p:txBody>
            </p:sp>
          </p:grpSp>
          <p:sp>
            <p:nvSpPr>
              <p:cNvPr id="369" name="TextBox 368"/>
              <p:cNvSpPr txBox="1"/>
              <p:nvPr/>
            </p:nvSpPr>
            <p:spPr>
              <a:xfrm>
                <a:off x="2809898" y="4351971"/>
                <a:ext cx="25968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App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Signing</a:t>
                </a: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4033848" y="1693924"/>
            <a:ext cx="512615" cy="512615"/>
            <a:chOff x="4143234" y="1750579"/>
            <a:chExt cx="512615" cy="512615"/>
          </a:xfrm>
        </p:grpSpPr>
        <p:sp>
          <p:nvSpPr>
            <p:cNvPr id="114" name="Oval 113"/>
            <p:cNvSpPr/>
            <p:nvPr/>
          </p:nvSpPr>
          <p:spPr>
            <a:xfrm>
              <a:off x="4143234" y="1750579"/>
              <a:ext cx="512615" cy="512615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4241869" y="1854275"/>
              <a:ext cx="315344" cy="305225"/>
              <a:chOff x="1512934" y="1964055"/>
              <a:chExt cx="309380" cy="299453"/>
            </a:xfrm>
          </p:grpSpPr>
          <p:grpSp>
            <p:nvGrpSpPr>
              <p:cNvPr id="148" name="Group 147"/>
              <p:cNvGrpSpPr/>
              <p:nvPr/>
            </p:nvGrpSpPr>
            <p:grpSpPr>
              <a:xfrm>
                <a:off x="1586710" y="1964055"/>
                <a:ext cx="161829" cy="187846"/>
                <a:chOff x="-708025" y="6654800"/>
                <a:chExt cx="582612" cy="676275"/>
              </a:xfrm>
              <a:solidFill>
                <a:schemeClr val="tx2"/>
              </a:solidFill>
            </p:grpSpPr>
            <p:sp>
              <p:nvSpPr>
                <p:cNvPr id="149" name="Freeform 119"/>
                <p:cNvSpPr>
                  <a:spLocks/>
                </p:cNvSpPr>
                <p:nvPr/>
              </p:nvSpPr>
              <p:spPr bwMode="auto">
                <a:xfrm>
                  <a:off x="-434975" y="6702425"/>
                  <a:ext cx="69850" cy="19050"/>
                </a:xfrm>
                <a:custGeom>
                  <a:avLst/>
                  <a:gdLst>
                    <a:gd name="T0" fmla="*/ 181 w 211"/>
                    <a:gd name="T1" fmla="*/ 60 h 60"/>
                    <a:gd name="T2" fmla="*/ 211 w 211"/>
                    <a:gd name="T3" fmla="*/ 30 h 60"/>
                    <a:gd name="T4" fmla="*/ 181 w 211"/>
                    <a:gd name="T5" fmla="*/ 0 h 60"/>
                    <a:gd name="T6" fmla="*/ 30 w 211"/>
                    <a:gd name="T7" fmla="*/ 0 h 60"/>
                    <a:gd name="T8" fmla="*/ 0 w 211"/>
                    <a:gd name="T9" fmla="*/ 30 h 60"/>
                    <a:gd name="T10" fmla="*/ 30 w 211"/>
                    <a:gd name="T11" fmla="*/ 60 h 60"/>
                    <a:gd name="T12" fmla="*/ 181 w 211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1" h="60">
                      <a:moveTo>
                        <a:pt x="181" y="60"/>
                      </a:moveTo>
                      <a:cubicBezTo>
                        <a:pt x="197" y="60"/>
                        <a:pt x="211" y="47"/>
                        <a:pt x="211" y="30"/>
                      </a:cubicBezTo>
                      <a:cubicBezTo>
                        <a:pt x="211" y="14"/>
                        <a:pt x="197" y="0"/>
                        <a:pt x="181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181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120"/>
                <p:cNvSpPr>
                  <a:spLocks/>
                </p:cNvSpPr>
                <p:nvPr/>
              </p:nvSpPr>
              <p:spPr bwMode="auto">
                <a:xfrm>
                  <a:off x="-482600" y="6702425"/>
                  <a:ext cx="38100" cy="19050"/>
                </a:xfrm>
                <a:custGeom>
                  <a:avLst/>
                  <a:gdLst>
                    <a:gd name="T0" fmla="*/ 84 w 114"/>
                    <a:gd name="T1" fmla="*/ 60 h 60"/>
                    <a:gd name="T2" fmla="*/ 114 w 114"/>
                    <a:gd name="T3" fmla="*/ 30 h 60"/>
                    <a:gd name="T4" fmla="*/ 84 w 114"/>
                    <a:gd name="T5" fmla="*/ 0 h 60"/>
                    <a:gd name="T6" fmla="*/ 30 w 114"/>
                    <a:gd name="T7" fmla="*/ 0 h 60"/>
                    <a:gd name="T8" fmla="*/ 0 w 114"/>
                    <a:gd name="T9" fmla="*/ 30 h 60"/>
                    <a:gd name="T10" fmla="*/ 30 w 114"/>
                    <a:gd name="T11" fmla="*/ 60 h 60"/>
                    <a:gd name="T12" fmla="*/ 84 w 11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60">
                      <a:moveTo>
                        <a:pt x="84" y="60"/>
                      </a:moveTo>
                      <a:cubicBezTo>
                        <a:pt x="101" y="60"/>
                        <a:pt x="114" y="47"/>
                        <a:pt x="114" y="30"/>
                      </a:cubicBezTo>
                      <a:cubicBezTo>
                        <a:pt x="114" y="14"/>
                        <a:pt x="101" y="0"/>
                        <a:pt x="8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47"/>
                        <a:pt x="14" y="60"/>
                        <a:pt x="30" y="60"/>
                      </a:cubicBezTo>
                      <a:lnTo>
                        <a:pt x="8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121"/>
                <p:cNvSpPr>
                  <a:spLocks noEditPoints="1"/>
                </p:cNvSpPr>
                <p:nvPr/>
              </p:nvSpPr>
              <p:spPr bwMode="auto">
                <a:xfrm>
                  <a:off x="-461963" y="7221538"/>
                  <a:ext cx="76200" cy="77788"/>
                </a:xfrm>
                <a:custGeom>
                  <a:avLst/>
                  <a:gdLst>
                    <a:gd name="T0" fmla="*/ 0 w 233"/>
                    <a:gd name="T1" fmla="*/ 116 h 233"/>
                    <a:gd name="T2" fmla="*/ 117 w 233"/>
                    <a:gd name="T3" fmla="*/ 233 h 233"/>
                    <a:gd name="T4" fmla="*/ 233 w 233"/>
                    <a:gd name="T5" fmla="*/ 116 h 233"/>
                    <a:gd name="T6" fmla="*/ 117 w 233"/>
                    <a:gd name="T7" fmla="*/ 0 h 233"/>
                    <a:gd name="T8" fmla="*/ 0 w 233"/>
                    <a:gd name="T9" fmla="*/ 116 h 233"/>
                    <a:gd name="T10" fmla="*/ 173 w 233"/>
                    <a:gd name="T11" fmla="*/ 116 h 233"/>
                    <a:gd name="T12" fmla="*/ 117 w 233"/>
                    <a:gd name="T13" fmla="*/ 173 h 233"/>
                    <a:gd name="T14" fmla="*/ 60 w 233"/>
                    <a:gd name="T15" fmla="*/ 116 h 233"/>
                    <a:gd name="T16" fmla="*/ 117 w 233"/>
                    <a:gd name="T17" fmla="*/ 60 h 233"/>
                    <a:gd name="T18" fmla="*/ 173 w 233"/>
                    <a:gd name="T19" fmla="*/ 11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3" h="233">
                      <a:moveTo>
                        <a:pt x="0" y="116"/>
                      </a:moveTo>
                      <a:cubicBezTo>
                        <a:pt x="0" y="181"/>
                        <a:pt x="53" y="233"/>
                        <a:pt x="117" y="233"/>
                      </a:cubicBezTo>
                      <a:cubicBezTo>
                        <a:pt x="181" y="233"/>
                        <a:pt x="233" y="181"/>
                        <a:pt x="233" y="116"/>
                      </a:cubicBezTo>
                      <a:cubicBezTo>
                        <a:pt x="233" y="52"/>
                        <a:pt x="181" y="0"/>
                        <a:pt x="117" y="0"/>
                      </a:cubicBezTo>
                      <a:cubicBezTo>
                        <a:pt x="53" y="0"/>
                        <a:pt x="0" y="52"/>
                        <a:pt x="0" y="116"/>
                      </a:cubicBezTo>
                      <a:close/>
                      <a:moveTo>
                        <a:pt x="173" y="116"/>
                      </a:moveTo>
                      <a:cubicBezTo>
                        <a:pt x="173" y="147"/>
                        <a:pt x="148" y="173"/>
                        <a:pt x="117" y="173"/>
                      </a:cubicBezTo>
                      <a:cubicBezTo>
                        <a:pt x="86" y="173"/>
                        <a:pt x="60" y="147"/>
                        <a:pt x="60" y="116"/>
                      </a:cubicBezTo>
                      <a:cubicBezTo>
                        <a:pt x="60" y="85"/>
                        <a:pt x="86" y="60"/>
                        <a:pt x="117" y="60"/>
                      </a:cubicBezTo>
                      <a:cubicBezTo>
                        <a:pt x="148" y="60"/>
                        <a:pt x="173" y="85"/>
                        <a:pt x="173" y="1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122"/>
                <p:cNvSpPr>
                  <a:spLocks/>
                </p:cNvSpPr>
                <p:nvPr/>
              </p:nvSpPr>
              <p:spPr bwMode="auto">
                <a:xfrm>
                  <a:off x="-334963" y="7037388"/>
                  <a:ext cx="60325" cy="19050"/>
                </a:xfrm>
                <a:custGeom>
                  <a:avLst/>
                  <a:gdLst>
                    <a:gd name="T0" fmla="*/ 30 w 184"/>
                    <a:gd name="T1" fmla="*/ 60 h 60"/>
                    <a:gd name="T2" fmla="*/ 154 w 184"/>
                    <a:gd name="T3" fmla="*/ 60 h 60"/>
                    <a:gd name="T4" fmla="*/ 184 w 184"/>
                    <a:gd name="T5" fmla="*/ 30 h 60"/>
                    <a:gd name="T6" fmla="*/ 154 w 184"/>
                    <a:gd name="T7" fmla="*/ 0 h 60"/>
                    <a:gd name="T8" fmla="*/ 30 w 184"/>
                    <a:gd name="T9" fmla="*/ 0 h 60"/>
                    <a:gd name="T10" fmla="*/ 0 w 184"/>
                    <a:gd name="T11" fmla="*/ 30 h 60"/>
                    <a:gd name="T12" fmla="*/ 30 w 184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4" h="60">
                      <a:moveTo>
                        <a:pt x="30" y="60"/>
                      </a:moveTo>
                      <a:cubicBezTo>
                        <a:pt x="154" y="60"/>
                        <a:pt x="154" y="60"/>
                        <a:pt x="154" y="60"/>
                      </a:cubicBezTo>
                      <a:cubicBezTo>
                        <a:pt x="171" y="60"/>
                        <a:pt x="184" y="46"/>
                        <a:pt x="184" y="30"/>
                      </a:cubicBezTo>
                      <a:cubicBezTo>
                        <a:pt x="184" y="13"/>
                        <a:pt x="171" y="0"/>
                        <a:pt x="154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123"/>
                <p:cNvSpPr>
                  <a:spLocks/>
                </p:cNvSpPr>
                <p:nvPr/>
              </p:nvSpPr>
              <p:spPr bwMode="auto">
                <a:xfrm>
                  <a:off x="-263525" y="7037388"/>
                  <a:ext cx="96837" cy="19050"/>
                </a:xfrm>
                <a:custGeom>
                  <a:avLst/>
                  <a:gdLst>
                    <a:gd name="T0" fmla="*/ 0 w 293"/>
                    <a:gd name="T1" fmla="*/ 30 h 60"/>
                    <a:gd name="T2" fmla="*/ 30 w 293"/>
                    <a:gd name="T3" fmla="*/ 60 h 60"/>
                    <a:gd name="T4" fmla="*/ 263 w 293"/>
                    <a:gd name="T5" fmla="*/ 60 h 60"/>
                    <a:gd name="T6" fmla="*/ 293 w 293"/>
                    <a:gd name="T7" fmla="*/ 30 h 60"/>
                    <a:gd name="T8" fmla="*/ 263 w 293"/>
                    <a:gd name="T9" fmla="*/ 0 h 60"/>
                    <a:gd name="T10" fmla="*/ 30 w 293"/>
                    <a:gd name="T11" fmla="*/ 0 h 60"/>
                    <a:gd name="T12" fmla="*/ 0 w 293"/>
                    <a:gd name="T13" fmla="*/ 3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3" h="60">
                      <a:moveTo>
                        <a:pt x="0" y="30"/>
                      </a:move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263" y="60"/>
                        <a:pt x="263" y="60"/>
                        <a:pt x="263" y="60"/>
                      </a:cubicBezTo>
                      <a:cubicBezTo>
                        <a:pt x="280" y="60"/>
                        <a:pt x="293" y="46"/>
                        <a:pt x="293" y="30"/>
                      </a:cubicBezTo>
                      <a:cubicBezTo>
                        <a:pt x="293" y="13"/>
                        <a:pt x="280" y="0"/>
                        <a:pt x="263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124"/>
                <p:cNvSpPr>
                  <a:spLocks/>
                </p:cNvSpPr>
                <p:nvPr/>
              </p:nvSpPr>
              <p:spPr bwMode="auto">
                <a:xfrm>
                  <a:off x="-227013" y="7080250"/>
                  <a:ext cx="60325" cy="19050"/>
                </a:xfrm>
                <a:custGeom>
                  <a:avLst/>
                  <a:gdLst>
                    <a:gd name="T0" fmla="*/ 153 w 183"/>
                    <a:gd name="T1" fmla="*/ 0 h 60"/>
                    <a:gd name="T2" fmla="*/ 30 w 183"/>
                    <a:gd name="T3" fmla="*/ 0 h 60"/>
                    <a:gd name="T4" fmla="*/ 0 w 183"/>
                    <a:gd name="T5" fmla="*/ 30 h 60"/>
                    <a:gd name="T6" fmla="*/ 30 w 183"/>
                    <a:gd name="T7" fmla="*/ 60 h 60"/>
                    <a:gd name="T8" fmla="*/ 153 w 183"/>
                    <a:gd name="T9" fmla="*/ 60 h 60"/>
                    <a:gd name="T10" fmla="*/ 183 w 183"/>
                    <a:gd name="T11" fmla="*/ 30 h 60"/>
                    <a:gd name="T12" fmla="*/ 153 w 183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3" h="60">
                      <a:moveTo>
                        <a:pt x="153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3" y="0"/>
                        <a:pt x="0" y="13"/>
                        <a:pt x="0" y="30"/>
                      </a:cubicBezTo>
                      <a:cubicBezTo>
                        <a:pt x="0" y="46"/>
                        <a:pt x="13" y="60"/>
                        <a:pt x="30" y="60"/>
                      </a:cubicBezTo>
                      <a:cubicBezTo>
                        <a:pt x="153" y="60"/>
                        <a:pt x="153" y="60"/>
                        <a:pt x="153" y="60"/>
                      </a:cubicBezTo>
                      <a:cubicBezTo>
                        <a:pt x="170" y="60"/>
                        <a:pt x="183" y="46"/>
                        <a:pt x="183" y="30"/>
                      </a:cubicBezTo>
                      <a:cubicBezTo>
                        <a:pt x="183" y="13"/>
                        <a:pt x="170" y="0"/>
                        <a:pt x="1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125"/>
                <p:cNvSpPr>
                  <a:spLocks/>
                </p:cNvSpPr>
                <p:nvPr/>
              </p:nvSpPr>
              <p:spPr bwMode="auto">
                <a:xfrm>
                  <a:off x="-334963" y="7080250"/>
                  <a:ext cx="96837" cy="19050"/>
                </a:xfrm>
                <a:custGeom>
                  <a:avLst/>
                  <a:gdLst>
                    <a:gd name="T0" fmla="*/ 264 w 294"/>
                    <a:gd name="T1" fmla="*/ 0 h 60"/>
                    <a:gd name="T2" fmla="*/ 30 w 294"/>
                    <a:gd name="T3" fmla="*/ 0 h 60"/>
                    <a:gd name="T4" fmla="*/ 0 w 294"/>
                    <a:gd name="T5" fmla="*/ 30 h 60"/>
                    <a:gd name="T6" fmla="*/ 30 w 294"/>
                    <a:gd name="T7" fmla="*/ 60 h 60"/>
                    <a:gd name="T8" fmla="*/ 264 w 294"/>
                    <a:gd name="T9" fmla="*/ 60 h 60"/>
                    <a:gd name="T10" fmla="*/ 294 w 294"/>
                    <a:gd name="T11" fmla="*/ 30 h 60"/>
                    <a:gd name="T12" fmla="*/ 264 w 294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4" h="60">
                      <a:moveTo>
                        <a:pt x="264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46"/>
                        <a:pt x="14" y="60"/>
                        <a:pt x="30" y="60"/>
                      </a:cubicBezTo>
                      <a:cubicBezTo>
                        <a:pt x="264" y="60"/>
                        <a:pt x="264" y="60"/>
                        <a:pt x="264" y="60"/>
                      </a:cubicBezTo>
                      <a:cubicBezTo>
                        <a:pt x="280" y="60"/>
                        <a:pt x="294" y="46"/>
                        <a:pt x="294" y="30"/>
                      </a:cubicBezTo>
                      <a:cubicBezTo>
                        <a:pt x="294" y="13"/>
                        <a:pt x="280" y="0"/>
                        <a:pt x="26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126"/>
                <p:cNvSpPr>
                  <a:spLocks noEditPoints="1"/>
                </p:cNvSpPr>
                <p:nvPr/>
              </p:nvSpPr>
              <p:spPr bwMode="auto">
                <a:xfrm>
                  <a:off x="-708025" y="6654800"/>
                  <a:ext cx="582612" cy="676275"/>
                </a:xfrm>
                <a:custGeom>
                  <a:avLst/>
                  <a:gdLst>
                    <a:gd name="T0" fmla="*/ 1438 w 1766"/>
                    <a:gd name="T1" fmla="*/ 676 h 2048"/>
                    <a:gd name="T2" fmla="*/ 1556 w 1766"/>
                    <a:gd name="T3" fmla="*/ 441 h 2048"/>
                    <a:gd name="T4" fmla="*/ 286 w 1766"/>
                    <a:gd name="T5" fmla="*/ 390 h 2048"/>
                    <a:gd name="T6" fmla="*/ 1378 w 1766"/>
                    <a:gd name="T7" fmla="*/ 170 h 2048"/>
                    <a:gd name="T8" fmla="*/ 444 w 1766"/>
                    <a:gd name="T9" fmla="*/ 280 h 2048"/>
                    <a:gd name="T10" fmla="*/ 400 w 1766"/>
                    <a:gd name="T11" fmla="*/ 684 h 2048"/>
                    <a:gd name="T12" fmla="*/ 349 w 1766"/>
                    <a:gd name="T13" fmla="*/ 691 h 2048"/>
                    <a:gd name="T14" fmla="*/ 0 w 1766"/>
                    <a:gd name="T15" fmla="*/ 1115 h 2048"/>
                    <a:gd name="T16" fmla="*/ 1438 w 1766"/>
                    <a:gd name="T17" fmla="*/ 1778 h 2048"/>
                    <a:gd name="T18" fmla="*/ 346 w 1766"/>
                    <a:gd name="T19" fmla="*/ 1878 h 2048"/>
                    <a:gd name="T20" fmla="*/ 382 w 1766"/>
                    <a:gd name="T21" fmla="*/ 1544 h 2048"/>
                    <a:gd name="T22" fmla="*/ 414 w 1766"/>
                    <a:gd name="T23" fmla="*/ 1547 h 2048"/>
                    <a:gd name="T24" fmla="*/ 1378 w 1766"/>
                    <a:gd name="T25" fmla="*/ 1500 h 2048"/>
                    <a:gd name="T26" fmla="*/ 1750 w 1766"/>
                    <a:gd name="T27" fmla="*/ 1470 h 2048"/>
                    <a:gd name="T28" fmla="*/ 1585 w 1766"/>
                    <a:gd name="T29" fmla="*/ 360 h 2048"/>
                    <a:gd name="T30" fmla="*/ 1310 w 1766"/>
                    <a:gd name="T31" fmla="*/ 1006 h 2048"/>
                    <a:gd name="T32" fmla="*/ 1296 w 1766"/>
                    <a:gd name="T33" fmla="*/ 805 h 2048"/>
                    <a:gd name="T34" fmla="*/ 1292 w 1766"/>
                    <a:gd name="T35" fmla="*/ 733 h 2048"/>
                    <a:gd name="T36" fmla="*/ 1402 w 1766"/>
                    <a:gd name="T37" fmla="*/ 767 h 2048"/>
                    <a:gd name="T38" fmla="*/ 1247 w 1766"/>
                    <a:gd name="T39" fmla="*/ 692 h 2048"/>
                    <a:gd name="T40" fmla="*/ 800 w 1766"/>
                    <a:gd name="T41" fmla="*/ 752 h 2048"/>
                    <a:gd name="T42" fmla="*/ 737 w 1766"/>
                    <a:gd name="T43" fmla="*/ 694 h 2048"/>
                    <a:gd name="T44" fmla="*/ 708 w 1766"/>
                    <a:gd name="T45" fmla="*/ 673 h 2048"/>
                    <a:gd name="T46" fmla="*/ 662 w 1766"/>
                    <a:gd name="T47" fmla="*/ 645 h 2048"/>
                    <a:gd name="T48" fmla="*/ 613 w 1766"/>
                    <a:gd name="T49" fmla="*/ 623 h 2048"/>
                    <a:gd name="T50" fmla="*/ 556 w 1766"/>
                    <a:gd name="T51" fmla="*/ 603 h 2048"/>
                    <a:gd name="T52" fmla="*/ 504 w 1766"/>
                    <a:gd name="T53" fmla="*/ 591 h 2048"/>
                    <a:gd name="T54" fmla="*/ 915 w 1766"/>
                    <a:gd name="T55" fmla="*/ 558 h 2048"/>
                    <a:gd name="T56" fmla="*/ 330 w 1766"/>
                    <a:gd name="T57" fmla="*/ 757 h 2048"/>
                    <a:gd name="T58" fmla="*/ 366 w 1766"/>
                    <a:gd name="T59" fmla="*/ 749 h 2048"/>
                    <a:gd name="T60" fmla="*/ 406 w 1766"/>
                    <a:gd name="T61" fmla="*/ 744 h 2048"/>
                    <a:gd name="T62" fmla="*/ 745 w 1766"/>
                    <a:gd name="T63" fmla="*/ 1316 h 2048"/>
                    <a:gd name="T64" fmla="*/ 648 w 1766"/>
                    <a:gd name="T65" fmla="*/ 1418 h 2048"/>
                    <a:gd name="T66" fmla="*/ 417 w 1766"/>
                    <a:gd name="T67" fmla="*/ 1487 h 2048"/>
                    <a:gd name="T68" fmla="*/ 377 w 1766"/>
                    <a:gd name="T69" fmla="*/ 1483 h 2048"/>
                    <a:gd name="T70" fmla="*/ 333 w 1766"/>
                    <a:gd name="T71" fmla="*/ 1474 h 2048"/>
                    <a:gd name="T72" fmla="*/ 474 w 1766"/>
                    <a:gd name="T73" fmla="*/ 1545 h 2048"/>
                    <a:gd name="T74" fmla="*/ 515 w 1766"/>
                    <a:gd name="T75" fmla="*/ 1539 h 2048"/>
                    <a:gd name="T76" fmla="*/ 555 w 1766"/>
                    <a:gd name="T77" fmla="*/ 1529 h 2048"/>
                    <a:gd name="T78" fmla="*/ 844 w 1766"/>
                    <a:gd name="T79" fmla="*/ 1376 h 2048"/>
                    <a:gd name="T80" fmla="*/ 856 w 1766"/>
                    <a:gd name="T81" fmla="*/ 1378 h 2048"/>
                    <a:gd name="T82" fmla="*/ 883 w 1766"/>
                    <a:gd name="T83" fmla="*/ 1362 h 2048"/>
                    <a:gd name="T84" fmla="*/ 883 w 1766"/>
                    <a:gd name="T85" fmla="*/ 1115 h 2048"/>
                    <a:gd name="T86" fmla="*/ 473 w 1766"/>
                    <a:gd name="T87" fmla="*/ 647 h 2048"/>
                    <a:gd name="T88" fmla="*/ 511 w 1766"/>
                    <a:gd name="T89" fmla="*/ 653 h 2048"/>
                    <a:gd name="T90" fmla="*/ 556 w 1766"/>
                    <a:gd name="T91" fmla="*/ 665 h 2048"/>
                    <a:gd name="T92" fmla="*/ 605 w 1766"/>
                    <a:gd name="T93" fmla="*/ 684 h 2048"/>
                    <a:gd name="T94" fmla="*/ 647 w 1766"/>
                    <a:gd name="T95" fmla="*/ 706 h 2048"/>
                    <a:gd name="T96" fmla="*/ 689 w 1766"/>
                    <a:gd name="T97" fmla="*/ 733 h 2048"/>
                    <a:gd name="T98" fmla="*/ 725 w 1766"/>
                    <a:gd name="T99" fmla="*/ 762 h 2048"/>
                    <a:gd name="T100" fmla="*/ 854 w 1766"/>
                    <a:gd name="T101" fmla="*/ 942 h 2048"/>
                    <a:gd name="T102" fmla="*/ 886 w 1766"/>
                    <a:gd name="T103" fmla="*/ 948 h 2048"/>
                    <a:gd name="T104" fmla="*/ 1052 w 1766"/>
                    <a:gd name="T105" fmla="*/ 651 h 2048"/>
                    <a:gd name="T106" fmla="*/ 1222 w 1766"/>
                    <a:gd name="T107" fmla="*/ 761 h 2048"/>
                    <a:gd name="T108" fmla="*/ 1223 w 1766"/>
                    <a:gd name="T109" fmla="*/ 783 h 2048"/>
                    <a:gd name="T110" fmla="*/ 1241 w 1766"/>
                    <a:gd name="T111" fmla="*/ 833 h 2048"/>
                    <a:gd name="T112" fmla="*/ 1250 w 1766"/>
                    <a:gd name="T113" fmla="*/ 845 h 2048"/>
                    <a:gd name="T114" fmla="*/ 1250 w 1766"/>
                    <a:gd name="T115" fmla="*/ 1500 h 2048"/>
                    <a:gd name="T116" fmla="*/ 1080 w 1766"/>
                    <a:gd name="T117" fmla="*/ 1066 h 20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66" h="2048">
                      <a:moveTo>
                        <a:pt x="1720" y="1006"/>
                      </a:moveTo>
                      <a:cubicBezTo>
                        <a:pt x="1438" y="1006"/>
                        <a:pt x="1438" y="1006"/>
                        <a:pt x="1438" y="1006"/>
                      </a:cubicBezTo>
                      <a:cubicBezTo>
                        <a:pt x="1438" y="838"/>
                        <a:pt x="1438" y="838"/>
                        <a:pt x="1438" y="838"/>
                      </a:cubicBezTo>
                      <a:cubicBezTo>
                        <a:pt x="1453" y="818"/>
                        <a:pt x="1462" y="793"/>
                        <a:pt x="1462" y="767"/>
                      </a:cubicBezTo>
                      <a:cubicBezTo>
                        <a:pt x="1462" y="740"/>
                        <a:pt x="1453" y="715"/>
                        <a:pt x="1438" y="695"/>
                      </a:cubicBezTo>
                      <a:cubicBezTo>
                        <a:pt x="1438" y="676"/>
                        <a:pt x="1438" y="676"/>
                        <a:pt x="1438" y="676"/>
                      </a:cubicBezTo>
                      <a:cubicBezTo>
                        <a:pt x="1607" y="474"/>
                        <a:pt x="1607" y="474"/>
                        <a:pt x="1607" y="474"/>
                      </a:cubicBezTo>
                      <a:cubicBezTo>
                        <a:pt x="1619" y="478"/>
                        <a:pt x="1632" y="481"/>
                        <a:pt x="1645" y="481"/>
                      </a:cubicBezTo>
                      <a:cubicBezTo>
                        <a:pt x="1712" y="481"/>
                        <a:pt x="1766" y="427"/>
                        <a:pt x="1766" y="360"/>
                      </a:cubicBezTo>
                      <a:cubicBezTo>
                        <a:pt x="1766" y="294"/>
                        <a:pt x="1712" y="240"/>
                        <a:pt x="1645" y="240"/>
                      </a:cubicBezTo>
                      <a:cubicBezTo>
                        <a:pt x="1579" y="240"/>
                        <a:pt x="1525" y="294"/>
                        <a:pt x="1525" y="360"/>
                      </a:cubicBezTo>
                      <a:cubicBezTo>
                        <a:pt x="1525" y="391"/>
                        <a:pt x="1537" y="420"/>
                        <a:pt x="1556" y="441"/>
                      </a:cubicBezTo>
                      <a:cubicBezTo>
                        <a:pt x="1438" y="583"/>
                        <a:pt x="1438" y="583"/>
                        <a:pt x="1438" y="583"/>
                      </a:cubicBezTo>
                      <a:cubicBezTo>
                        <a:pt x="1438" y="170"/>
                        <a:pt x="1438" y="170"/>
                        <a:pt x="1438" y="170"/>
                      </a:cubicBezTo>
                      <a:cubicBezTo>
                        <a:pt x="1438" y="76"/>
                        <a:pt x="1362" y="0"/>
                        <a:pt x="1269" y="0"/>
                      </a:cubicBezTo>
                      <a:cubicBezTo>
                        <a:pt x="455" y="0"/>
                        <a:pt x="455" y="0"/>
                        <a:pt x="455" y="0"/>
                      </a:cubicBezTo>
                      <a:cubicBezTo>
                        <a:pt x="362" y="0"/>
                        <a:pt x="286" y="76"/>
                        <a:pt x="286" y="170"/>
                      </a:cubicBezTo>
                      <a:cubicBezTo>
                        <a:pt x="286" y="390"/>
                        <a:pt x="286" y="390"/>
                        <a:pt x="286" y="390"/>
                      </a:cubicBezTo>
                      <a:cubicBezTo>
                        <a:pt x="286" y="407"/>
                        <a:pt x="299" y="420"/>
                        <a:pt x="316" y="420"/>
                      </a:cubicBezTo>
                      <a:cubicBezTo>
                        <a:pt x="332" y="420"/>
                        <a:pt x="346" y="407"/>
                        <a:pt x="346" y="390"/>
                      </a:cubicBezTo>
                      <a:cubicBezTo>
                        <a:pt x="346" y="170"/>
                        <a:pt x="346" y="170"/>
                        <a:pt x="346" y="170"/>
                      </a:cubicBezTo>
                      <a:cubicBezTo>
                        <a:pt x="346" y="109"/>
                        <a:pt x="395" y="60"/>
                        <a:pt x="455" y="60"/>
                      </a:cubicBezTo>
                      <a:cubicBezTo>
                        <a:pt x="1269" y="60"/>
                        <a:pt x="1269" y="60"/>
                        <a:pt x="1269" y="60"/>
                      </a:cubicBezTo>
                      <a:cubicBezTo>
                        <a:pt x="1329" y="60"/>
                        <a:pt x="1378" y="109"/>
                        <a:pt x="1378" y="170"/>
                      </a:cubicBezTo>
                      <a:cubicBezTo>
                        <a:pt x="1378" y="652"/>
                        <a:pt x="1378" y="652"/>
                        <a:pt x="1378" y="652"/>
                      </a:cubicBezTo>
                      <a:cubicBezTo>
                        <a:pt x="1367" y="648"/>
                        <a:pt x="1355" y="646"/>
                        <a:pt x="1342" y="646"/>
                      </a:cubicBezTo>
                      <a:cubicBezTo>
                        <a:pt x="1331" y="646"/>
                        <a:pt x="1320" y="648"/>
                        <a:pt x="1310" y="650"/>
                      </a:cubicBezTo>
                      <a:cubicBezTo>
                        <a:pt x="1310" y="310"/>
                        <a:pt x="1310" y="310"/>
                        <a:pt x="1310" y="310"/>
                      </a:cubicBezTo>
                      <a:cubicBezTo>
                        <a:pt x="1310" y="293"/>
                        <a:pt x="1297" y="280"/>
                        <a:pt x="1280" y="280"/>
                      </a:cubicBezTo>
                      <a:cubicBezTo>
                        <a:pt x="444" y="280"/>
                        <a:pt x="444" y="280"/>
                        <a:pt x="444" y="280"/>
                      </a:cubicBezTo>
                      <a:cubicBezTo>
                        <a:pt x="427" y="280"/>
                        <a:pt x="414" y="293"/>
                        <a:pt x="414" y="310"/>
                      </a:cubicBezTo>
                      <a:cubicBezTo>
                        <a:pt x="414" y="607"/>
                        <a:pt x="414" y="607"/>
                        <a:pt x="414" y="607"/>
                      </a:cubicBezTo>
                      <a:cubicBezTo>
                        <a:pt x="413" y="609"/>
                        <a:pt x="413" y="611"/>
                        <a:pt x="413" y="613"/>
                      </a:cubicBezTo>
                      <a:cubicBezTo>
                        <a:pt x="413" y="683"/>
                        <a:pt x="413" y="683"/>
                        <a:pt x="413" y="683"/>
                      </a:cubicBezTo>
                      <a:cubicBezTo>
                        <a:pt x="412" y="683"/>
                        <a:pt x="411" y="684"/>
                        <a:pt x="409" y="684"/>
                      </a:cubicBezTo>
                      <a:cubicBezTo>
                        <a:pt x="406" y="684"/>
                        <a:pt x="403" y="684"/>
                        <a:pt x="400" y="684"/>
                      </a:cubicBezTo>
                      <a:cubicBezTo>
                        <a:pt x="397" y="684"/>
                        <a:pt x="395" y="685"/>
                        <a:pt x="393" y="685"/>
                      </a:cubicBezTo>
                      <a:cubicBezTo>
                        <a:pt x="389" y="685"/>
                        <a:pt x="385" y="686"/>
                        <a:pt x="381" y="686"/>
                      </a:cubicBezTo>
                      <a:cubicBezTo>
                        <a:pt x="379" y="686"/>
                        <a:pt x="377" y="687"/>
                        <a:pt x="375" y="687"/>
                      </a:cubicBezTo>
                      <a:cubicBezTo>
                        <a:pt x="372" y="687"/>
                        <a:pt x="369" y="688"/>
                        <a:pt x="366" y="688"/>
                      </a:cubicBezTo>
                      <a:cubicBezTo>
                        <a:pt x="364" y="688"/>
                        <a:pt x="362" y="689"/>
                        <a:pt x="360" y="689"/>
                      </a:cubicBezTo>
                      <a:cubicBezTo>
                        <a:pt x="356" y="690"/>
                        <a:pt x="353" y="690"/>
                        <a:pt x="349" y="691"/>
                      </a:cubicBezTo>
                      <a:cubicBezTo>
                        <a:pt x="348" y="691"/>
                        <a:pt x="347" y="692"/>
                        <a:pt x="346" y="692"/>
                      </a:cubicBezTo>
                      <a:cubicBezTo>
                        <a:pt x="346" y="511"/>
                        <a:pt x="346" y="511"/>
                        <a:pt x="346" y="511"/>
                      </a:cubicBezTo>
                      <a:cubicBezTo>
                        <a:pt x="346" y="494"/>
                        <a:pt x="332" y="481"/>
                        <a:pt x="316" y="481"/>
                      </a:cubicBezTo>
                      <a:cubicBezTo>
                        <a:pt x="299" y="481"/>
                        <a:pt x="286" y="494"/>
                        <a:pt x="286" y="511"/>
                      </a:cubicBezTo>
                      <a:cubicBezTo>
                        <a:pt x="286" y="709"/>
                        <a:pt x="286" y="709"/>
                        <a:pt x="286" y="709"/>
                      </a:cubicBezTo>
                      <a:cubicBezTo>
                        <a:pt x="119" y="769"/>
                        <a:pt x="0" y="928"/>
                        <a:pt x="0" y="1115"/>
                      </a:cubicBezTo>
                      <a:cubicBezTo>
                        <a:pt x="0" y="1302"/>
                        <a:pt x="119" y="1461"/>
                        <a:pt x="286" y="1521"/>
                      </a:cubicBezTo>
                      <a:cubicBezTo>
                        <a:pt x="286" y="1878"/>
                        <a:pt x="286" y="1878"/>
                        <a:pt x="286" y="1878"/>
                      </a:cubicBezTo>
                      <a:cubicBezTo>
                        <a:pt x="286" y="1972"/>
                        <a:pt x="362" y="2048"/>
                        <a:pt x="455" y="2048"/>
                      </a:cubicBezTo>
                      <a:cubicBezTo>
                        <a:pt x="1269" y="2048"/>
                        <a:pt x="1269" y="2048"/>
                        <a:pt x="1269" y="2048"/>
                      </a:cubicBezTo>
                      <a:cubicBezTo>
                        <a:pt x="1362" y="2048"/>
                        <a:pt x="1438" y="1972"/>
                        <a:pt x="1438" y="1878"/>
                      </a:cubicBezTo>
                      <a:cubicBezTo>
                        <a:pt x="1438" y="1778"/>
                        <a:pt x="1438" y="1778"/>
                        <a:pt x="1438" y="1778"/>
                      </a:cubicBezTo>
                      <a:cubicBezTo>
                        <a:pt x="1438" y="1761"/>
                        <a:pt x="1425" y="1748"/>
                        <a:pt x="1408" y="1748"/>
                      </a:cubicBezTo>
                      <a:cubicBezTo>
                        <a:pt x="1392" y="1748"/>
                        <a:pt x="1378" y="1761"/>
                        <a:pt x="1378" y="1778"/>
                      </a:cubicBezTo>
                      <a:cubicBezTo>
                        <a:pt x="1378" y="1878"/>
                        <a:pt x="1378" y="1878"/>
                        <a:pt x="1378" y="1878"/>
                      </a:cubicBezTo>
                      <a:cubicBezTo>
                        <a:pt x="1378" y="1939"/>
                        <a:pt x="1329" y="1988"/>
                        <a:pt x="1269" y="1988"/>
                      </a:cubicBezTo>
                      <a:cubicBezTo>
                        <a:pt x="455" y="1988"/>
                        <a:pt x="455" y="1988"/>
                        <a:pt x="455" y="1988"/>
                      </a:cubicBezTo>
                      <a:cubicBezTo>
                        <a:pt x="395" y="1988"/>
                        <a:pt x="346" y="1939"/>
                        <a:pt x="346" y="1878"/>
                      </a:cubicBezTo>
                      <a:cubicBezTo>
                        <a:pt x="346" y="1538"/>
                        <a:pt x="346" y="1538"/>
                        <a:pt x="346" y="1538"/>
                      </a:cubicBezTo>
                      <a:cubicBezTo>
                        <a:pt x="352" y="1540"/>
                        <a:pt x="358" y="1541"/>
                        <a:pt x="364" y="1542"/>
                      </a:cubicBezTo>
                      <a:cubicBezTo>
                        <a:pt x="365" y="1542"/>
                        <a:pt x="366" y="1542"/>
                        <a:pt x="367" y="1542"/>
                      </a:cubicBezTo>
                      <a:cubicBezTo>
                        <a:pt x="369" y="1542"/>
                        <a:pt x="371" y="1543"/>
                        <a:pt x="373" y="1543"/>
                      </a:cubicBezTo>
                      <a:cubicBezTo>
                        <a:pt x="374" y="1543"/>
                        <a:pt x="376" y="1543"/>
                        <a:pt x="378" y="1544"/>
                      </a:cubicBezTo>
                      <a:cubicBezTo>
                        <a:pt x="379" y="1544"/>
                        <a:pt x="381" y="1544"/>
                        <a:pt x="382" y="1544"/>
                      </a:cubicBezTo>
                      <a:cubicBezTo>
                        <a:pt x="384" y="1544"/>
                        <a:pt x="386" y="1545"/>
                        <a:pt x="388" y="1545"/>
                      </a:cubicBezTo>
                      <a:cubicBezTo>
                        <a:pt x="390" y="1545"/>
                        <a:pt x="391" y="1545"/>
                        <a:pt x="393" y="1545"/>
                      </a:cubicBezTo>
                      <a:cubicBezTo>
                        <a:pt x="395" y="1545"/>
                        <a:pt x="397" y="1546"/>
                        <a:pt x="399" y="1546"/>
                      </a:cubicBezTo>
                      <a:cubicBezTo>
                        <a:pt x="401" y="1546"/>
                        <a:pt x="402" y="1546"/>
                        <a:pt x="404" y="1546"/>
                      </a:cubicBezTo>
                      <a:cubicBezTo>
                        <a:pt x="406" y="1546"/>
                        <a:pt x="408" y="1546"/>
                        <a:pt x="410" y="1546"/>
                      </a:cubicBezTo>
                      <a:cubicBezTo>
                        <a:pt x="411" y="1547"/>
                        <a:pt x="413" y="1547"/>
                        <a:pt x="414" y="1547"/>
                      </a:cubicBezTo>
                      <a:cubicBezTo>
                        <a:pt x="414" y="1653"/>
                        <a:pt x="414" y="1653"/>
                        <a:pt x="414" y="1653"/>
                      </a:cubicBezTo>
                      <a:cubicBezTo>
                        <a:pt x="414" y="1669"/>
                        <a:pt x="427" y="1683"/>
                        <a:pt x="444" y="1683"/>
                      </a:cubicBezTo>
                      <a:cubicBezTo>
                        <a:pt x="1280" y="1683"/>
                        <a:pt x="1280" y="1683"/>
                        <a:pt x="1280" y="1683"/>
                      </a:cubicBezTo>
                      <a:cubicBezTo>
                        <a:pt x="1297" y="1683"/>
                        <a:pt x="1310" y="1669"/>
                        <a:pt x="1310" y="1653"/>
                      </a:cubicBezTo>
                      <a:cubicBezTo>
                        <a:pt x="1310" y="1500"/>
                        <a:pt x="1310" y="1500"/>
                        <a:pt x="1310" y="1500"/>
                      </a:cubicBezTo>
                      <a:cubicBezTo>
                        <a:pt x="1378" y="1500"/>
                        <a:pt x="1378" y="1500"/>
                        <a:pt x="1378" y="1500"/>
                      </a:cubicBezTo>
                      <a:cubicBezTo>
                        <a:pt x="1378" y="1658"/>
                        <a:pt x="1378" y="1658"/>
                        <a:pt x="1378" y="1658"/>
                      </a:cubicBezTo>
                      <a:cubicBezTo>
                        <a:pt x="1378" y="1674"/>
                        <a:pt x="1392" y="1688"/>
                        <a:pt x="1408" y="1688"/>
                      </a:cubicBezTo>
                      <a:cubicBezTo>
                        <a:pt x="1425" y="1688"/>
                        <a:pt x="1438" y="1674"/>
                        <a:pt x="1438" y="1658"/>
                      </a:cubicBezTo>
                      <a:cubicBezTo>
                        <a:pt x="1438" y="1500"/>
                        <a:pt x="1438" y="1500"/>
                        <a:pt x="1438" y="1500"/>
                      </a:cubicBezTo>
                      <a:cubicBezTo>
                        <a:pt x="1720" y="1500"/>
                        <a:pt x="1720" y="1500"/>
                        <a:pt x="1720" y="1500"/>
                      </a:cubicBezTo>
                      <a:cubicBezTo>
                        <a:pt x="1737" y="1500"/>
                        <a:pt x="1750" y="1486"/>
                        <a:pt x="1750" y="1470"/>
                      </a:cubicBezTo>
                      <a:cubicBezTo>
                        <a:pt x="1750" y="1036"/>
                        <a:pt x="1750" y="1036"/>
                        <a:pt x="1750" y="1036"/>
                      </a:cubicBezTo>
                      <a:cubicBezTo>
                        <a:pt x="1750" y="1019"/>
                        <a:pt x="1737" y="1006"/>
                        <a:pt x="1720" y="1006"/>
                      </a:cubicBezTo>
                      <a:close/>
                      <a:moveTo>
                        <a:pt x="1645" y="300"/>
                      </a:moveTo>
                      <a:cubicBezTo>
                        <a:pt x="1679" y="300"/>
                        <a:pt x="1706" y="327"/>
                        <a:pt x="1706" y="360"/>
                      </a:cubicBezTo>
                      <a:cubicBezTo>
                        <a:pt x="1706" y="393"/>
                        <a:pt x="1679" y="420"/>
                        <a:pt x="1645" y="420"/>
                      </a:cubicBezTo>
                      <a:cubicBezTo>
                        <a:pt x="1612" y="420"/>
                        <a:pt x="1585" y="393"/>
                        <a:pt x="1585" y="360"/>
                      </a:cubicBezTo>
                      <a:cubicBezTo>
                        <a:pt x="1585" y="327"/>
                        <a:pt x="1612" y="300"/>
                        <a:pt x="1645" y="300"/>
                      </a:cubicBezTo>
                      <a:close/>
                      <a:moveTo>
                        <a:pt x="1310" y="883"/>
                      </a:moveTo>
                      <a:cubicBezTo>
                        <a:pt x="1320" y="885"/>
                        <a:pt x="1331" y="887"/>
                        <a:pt x="1342" y="887"/>
                      </a:cubicBezTo>
                      <a:cubicBezTo>
                        <a:pt x="1355" y="887"/>
                        <a:pt x="1367" y="885"/>
                        <a:pt x="1378" y="881"/>
                      </a:cubicBezTo>
                      <a:cubicBezTo>
                        <a:pt x="1378" y="1006"/>
                        <a:pt x="1378" y="1006"/>
                        <a:pt x="1378" y="1006"/>
                      </a:cubicBezTo>
                      <a:cubicBezTo>
                        <a:pt x="1310" y="1006"/>
                        <a:pt x="1310" y="1006"/>
                        <a:pt x="1310" y="1006"/>
                      </a:cubicBezTo>
                      <a:lnTo>
                        <a:pt x="1310" y="883"/>
                      </a:lnTo>
                      <a:close/>
                      <a:moveTo>
                        <a:pt x="1402" y="767"/>
                      </a:moveTo>
                      <a:cubicBezTo>
                        <a:pt x="1402" y="800"/>
                        <a:pt x="1375" y="827"/>
                        <a:pt x="1342" y="827"/>
                      </a:cubicBezTo>
                      <a:cubicBezTo>
                        <a:pt x="1326" y="827"/>
                        <a:pt x="1311" y="820"/>
                        <a:pt x="1300" y="810"/>
                      </a:cubicBezTo>
                      <a:cubicBezTo>
                        <a:pt x="1299" y="809"/>
                        <a:pt x="1298" y="808"/>
                        <a:pt x="1298" y="808"/>
                      </a:cubicBezTo>
                      <a:cubicBezTo>
                        <a:pt x="1297" y="807"/>
                        <a:pt x="1296" y="806"/>
                        <a:pt x="1296" y="805"/>
                      </a:cubicBezTo>
                      <a:cubicBezTo>
                        <a:pt x="1295" y="805"/>
                        <a:pt x="1295" y="804"/>
                        <a:pt x="1294" y="804"/>
                      </a:cubicBezTo>
                      <a:cubicBezTo>
                        <a:pt x="1293" y="803"/>
                        <a:pt x="1293" y="802"/>
                        <a:pt x="1292" y="800"/>
                      </a:cubicBezTo>
                      <a:cubicBezTo>
                        <a:pt x="1292" y="800"/>
                        <a:pt x="1292" y="800"/>
                        <a:pt x="1291" y="800"/>
                      </a:cubicBezTo>
                      <a:cubicBezTo>
                        <a:pt x="1285" y="790"/>
                        <a:pt x="1281" y="779"/>
                        <a:pt x="1281" y="767"/>
                      </a:cubicBezTo>
                      <a:cubicBezTo>
                        <a:pt x="1281" y="754"/>
                        <a:pt x="1285" y="743"/>
                        <a:pt x="1291" y="734"/>
                      </a:cubicBezTo>
                      <a:cubicBezTo>
                        <a:pt x="1292" y="733"/>
                        <a:pt x="1292" y="733"/>
                        <a:pt x="1292" y="733"/>
                      </a:cubicBezTo>
                      <a:cubicBezTo>
                        <a:pt x="1293" y="732"/>
                        <a:pt x="1293" y="731"/>
                        <a:pt x="1294" y="730"/>
                      </a:cubicBezTo>
                      <a:cubicBezTo>
                        <a:pt x="1295" y="729"/>
                        <a:pt x="1295" y="728"/>
                        <a:pt x="1296" y="728"/>
                      </a:cubicBezTo>
                      <a:cubicBezTo>
                        <a:pt x="1296" y="727"/>
                        <a:pt x="1297" y="726"/>
                        <a:pt x="1298" y="725"/>
                      </a:cubicBezTo>
                      <a:cubicBezTo>
                        <a:pt x="1298" y="725"/>
                        <a:pt x="1299" y="724"/>
                        <a:pt x="1300" y="723"/>
                      </a:cubicBezTo>
                      <a:cubicBezTo>
                        <a:pt x="1311" y="713"/>
                        <a:pt x="1326" y="706"/>
                        <a:pt x="1342" y="706"/>
                      </a:cubicBezTo>
                      <a:cubicBezTo>
                        <a:pt x="1375" y="706"/>
                        <a:pt x="1402" y="733"/>
                        <a:pt x="1402" y="767"/>
                      </a:cubicBezTo>
                      <a:close/>
                      <a:moveTo>
                        <a:pt x="474" y="340"/>
                      </a:moveTo>
                      <a:cubicBezTo>
                        <a:pt x="1250" y="340"/>
                        <a:pt x="1250" y="340"/>
                        <a:pt x="1250" y="340"/>
                      </a:cubicBezTo>
                      <a:cubicBezTo>
                        <a:pt x="1250" y="689"/>
                        <a:pt x="1250" y="689"/>
                        <a:pt x="1250" y="689"/>
                      </a:cubicBezTo>
                      <a:cubicBezTo>
                        <a:pt x="1250" y="689"/>
                        <a:pt x="1249" y="689"/>
                        <a:pt x="1249" y="690"/>
                      </a:cubicBezTo>
                      <a:cubicBezTo>
                        <a:pt x="1249" y="690"/>
                        <a:pt x="1249" y="690"/>
                        <a:pt x="1249" y="690"/>
                      </a:cubicBezTo>
                      <a:cubicBezTo>
                        <a:pt x="1248" y="691"/>
                        <a:pt x="1248" y="691"/>
                        <a:pt x="1247" y="692"/>
                      </a:cubicBezTo>
                      <a:cubicBezTo>
                        <a:pt x="1088" y="602"/>
                        <a:pt x="1088" y="602"/>
                        <a:pt x="1088" y="602"/>
                      </a:cubicBezTo>
                      <a:cubicBezTo>
                        <a:pt x="1093" y="588"/>
                        <a:pt x="1096" y="573"/>
                        <a:pt x="1096" y="558"/>
                      </a:cubicBezTo>
                      <a:cubicBezTo>
                        <a:pt x="1096" y="491"/>
                        <a:pt x="1042" y="437"/>
                        <a:pt x="976" y="437"/>
                      </a:cubicBezTo>
                      <a:cubicBezTo>
                        <a:pt x="909" y="437"/>
                        <a:pt x="855" y="491"/>
                        <a:pt x="855" y="558"/>
                      </a:cubicBezTo>
                      <a:cubicBezTo>
                        <a:pt x="855" y="588"/>
                        <a:pt x="867" y="616"/>
                        <a:pt x="886" y="638"/>
                      </a:cubicBezTo>
                      <a:cubicBezTo>
                        <a:pt x="800" y="752"/>
                        <a:pt x="800" y="752"/>
                        <a:pt x="800" y="752"/>
                      </a:cubicBezTo>
                      <a:cubicBezTo>
                        <a:pt x="789" y="740"/>
                        <a:pt x="778" y="729"/>
                        <a:pt x="766" y="718"/>
                      </a:cubicBezTo>
                      <a:cubicBezTo>
                        <a:pt x="766" y="718"/>
                        <a:pt x="765" y="718"/>
                        <a:pt x="765" y="718"/>
                      </a:cubicBezTo>
                      <a:cubicBezTo>
                        <a:pt x="761" y="714"/>
                        <a:pt x="757" y="711"/>
                        <a:pt x="753" y="707"/>
                      </a:cubicBezTo>
                      <a:cubicBezTo>
                        <a:pt x="752" y="707"/>
                        <a:pt x="752" y="706"/>
                        <a:pt x="751" y="706"/>
                      </a:cubicBezTo>
                      <a:cubicBezTo>
                        <a:pt x="747" y="702"/>
                        <a:pt x="743" y="699"/>
                        <a:pt x="739" y="696"/>
                      </a:cubicBezTo>
                      <a:cubicBezTo>
                        <a:pt x="738" y="695"/>
                        <a:pt x="738" y="695"/>
                        <a:pt x="737" y="694"/>
                      </a:cubicBezTo>
                      <a:cubicBezTo>
                        <a:pt x="733" y="691"/>
                        <a:pt x="729" y="688"/>
                        <a:pt x="725" y="685"/>
                      </a:cubicBezTo>
                      <a:cubicBezTo>
                        <a:pt x="724" y="685"/>
                        <a:pt x="723" y="684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2" y="683"/>
                        <a:pt x="722" y="683"/>
                        <a:pt x="722" y="683"/>
                      </a:cubicBezTo>
                      <a:cubicBezTo>
                        <a:pt x="721" y="682"/>
                        <a:pt x="720" y="682"/>
                        <a:pt x="719" y="681"/>
                      </a:cubicBezTo>
                      <a:cubicBezTo>
                        <a:pt x="715" y="678"/>
                        <a:pt x="711" y="675"/>
                        <a:pt x="708" y="673"/>
                      </a:cubicBezTo>
                      <a:cubicBezTo>
                        <a:pt x="706" y="672"/>
                        <a:pt x="704" y="670"/>
                        <a:pt x="702" y="669"/>
                      </a:cubicBezTo>
                      <a:cubicBezTo>
                        <a:pt x="699" y="667"/>
                        <a:pt x="696" y="665"/>
                        <a:pt x="693" y="663"/>
                      </a:cubicBezTo>
                      <a:cubicBezTo>
                        <a:pt x="690" y="662"/>
                        <a:pt x="688" y="660"/>
                        <a:pt x="686" y="659"/>
                      </a:cubicBezTo>
                      <a:cubicBezTo>
                        <a:pt x="683" y="657"/>
                        <a:pt x="680" y="656"/>
                        <a:pt x="677" y="654"/>
                      </a:cubicBezTo>
                      <a:cubicBezTo>
                        <a:pt x="675" y="653"/>
                        <a:pt x="673" y="651"/>
                        <a:pt x="670" y="650"/>
                      </a:cubicBezTo>
                      <a:cubicBezTo>
                        <a:pt x="667" y="648"/>
                        <a:pt x="665" y="647"/>
                        <a:pt x="662" y="645"/>
                      </a:cubicBezTo>
                      <a:cubicBezTo>
                        <a:pt x="659" y="644"/>
                        <a:pt x="657" y="643"/>
                        <a:pt x="654" y="642"/>
                      </a:cubicBezTo>
                      <a:cubicBezTo>
                        <a:pt x="652" y="640"/>
                        <a:pt x="649" y="639"/>
                        <a:pt x="646" y="637"/>
                      </a:cubicBezTo>
                      <a:cubicBezTo>
                        <a:pt x="643" y="636"/>
                        <a:pt x="641" y="635"/>
                        <a:pt x="638" y="634"/>
                      </a:cubicBezTo>
                      <a:cubicBezTo>
                        <a:pt x="636" y="632"/>
                        <a:pt x="633" y="631"/>
                        <a:pt x="630" y="630"/>
                      </a:cubicBezTo>
                      <a:cubicBezTo>
                        <a:pt x="627" y="628"/>
                        <a:pt x="625" y="627"/>
                        <a:pt x="622" y="626"/>
                      </a:cubicBezTo>
                      <a:cubicBezTo>
                        <a:pt x="619" y="625"/>
                        <a:pt x="616" y="624"/>
                        <a:pt x="613" y="623"/>
                      </a:cubicBezTo>
                      <a:cubicBezTo>
                        <a:pt x="611" y="621"/>
                        <a:pt x="608" y="620"/>
                        <a:pt x="606" y="619"/>
                      </a:cubicBezTo>
                      <a:cubicBezTo>
                        <a:pt x="603" y="618"/>
                        <a:pt x="600" y="617"/>
                        <a:pt x="597" y="616"/>
                      </a:cubicBezTo>
                      <a:cubicBezTo>
                        <a:pt x="594" y="615"/>
                        <a:pt x="592" y="614"/>
                        <a:pt x="589" y="613"/>
                      </a:cubicBezTo>
                      <a:cubicBezTo>
                        <a:pt x="586" y="612"/>
                        <a:pt x="582" y="611"/>
                        <a:pt x="578" y="610"/>
                      </a:cubicBezTo>
                      <a:cubicBezTo>
                        <a:pt x="576" y="609"/>
                        <a:pt x="575" y="608"/>
                        <a:pt x="573" y="608"/>
                      </a:cubicBezTo>
                      <a:cubicBezTo>
                        <a:pt x="567" y="606"/>
                        <a:pt x="562" y="604"/>
                        <a:pt x="556" y="603"/>
                      </a:cubicBezTo>
                      <a:cubicBezTo>
                        <a:pt x="554" y="602"/>
                        <a:pt x="551" y="601"/>
                        <a:pt x="549" y="601"/>
                      </a:cubicBezTo>
                      <a:cubicBezTo>
                        <a:pt x="546" y="600"/>
                        <a:pt x="542" y="599"/>
                        <a:pt x="539" y="598"/>
                      </a:cubicBezTo>
                      <a:cubicBezTo>
                        <a:pt x="536" y="597"/>
                        <a:pt x="534" y="597"/>
                        <a:pt x="531" y="596"/>
                      </a:cubicBezTo>
                      <a:cubicBezTo>
                        <a:pt x="528" y="595"/>
                        <a:pt x="525" y="595"/>
                        <a:pt x="522" y="594"/>
                      </a:cubicBezTo>
                      <a:cubicBezTo>
                        <a:pt x="519" y="593"/>
                        <a:pt x="516" y="593"/>
                        <a:pt x="514" y="592"/>
                      </a:cubicBezTo>
                      <a:cubicBezTo>
                        <a:pt x="510" y="592"/>
                        <a:pt x="507" y="591"/>
                        <a:pt x="504" y="591"/>
                      </a:cubicBezTo>
                      <a:cubicBezTo>
                        <a:pt x="501" y="590"/>
                        <a:pt x="499" y="590"/>
                        <a:pt x="496" y="589"/>
                      </a:cubicBezTo>
                      <a:cubicBezTo>
                        <a:pt x="493" y="589"/>
                        <a:pt x="490" y="588"/>
                        <a:pt x="486" y="588"/>
                      </a:cubicBezTo>
                      <a:cubicBezTo>
                        <a:pt x="484" y="587"/>
                        <a:pt x="481" y="587"/>
                        <a:pt x="478" y="587"/>
                      </a:cubicBezTo>
                      <a:cubicBezTo>
                        <a:pt x="477" y="587"/>
                        <a:pt x="475" y="586"/>
                        <a:pt x="474" y="586"/>
                      </a:cubicBezTo>
                      <a:cubicBezTo>
                        <a:pt x="474" y="340"/>
                        <a:pt x="474" y="340"/>
                        <a:pt x="474" y="340"/>
                      </a:cubicBezTo>
                      <a:close/>
                      <a:moveTo>
                        <a:pt x="915" y="558"/>
                      </a:moveTo>
                      <a:cubicBezTo>
                        <a:pt x="915" y="524"/>
                        <a:pt x="943" y="497"/>
                        <a:pt x="976" y="497"/>
                      </a:cubicBezTo>
                      <a:cubicBezTo>
                        <a:pt x="1009" y="497"/>
                        <a:pt x="1036" y="524"/>
                        <a:pt x="1036" y="558"/>
                      </a:cubicBezTo>
                      <a:cubicBezTo>
                        <a:pt x="1036" y="591"/>
                        <a:pt x="1009" y="618"/>
                        <a:pt x="976" y="618"/>
                      </a:cubicBezTo>
                      <a:cubicBezTo>
                        <a:pt x="943" y="618"/>
                        <a:pt x="915" y="591"/>
                        <a:pt x="915" y="558"/>
                      </a:cubicBezTo>
                      <a:close/>
                      <a:moveTo>
                        <a:pt x="60" y="1115"/>
                      </a:moveTo>
                      <a:cubicBezTo>
                        <a:pt x="60" y="945"/>
                        <a:pt x="174" y="802"/>
                        <a:pt x="330" y="757"/>
                      </a:cubicBezTo>
                      <a:cubicBezTo>
                        <a:pt x="331" y="757"/>
                        <a:pt x="333" y="757"/>
                        <a:pt x="334" y="756"/>
                      </a:cubicBezTo>
                      <a:cubicBezTo>
                        <a:pt x="336" y="756"/>
                        <a:pt x="338" y="755"/>
                        <a:pt x="340" y="755"/>
                      </a:cubicBezTo>
                      <a:cubicBezTo>
                        <a:pt x="343" y="754"/>
                        <a:pt x="345" y="753"/>
                        <a:pt x="347" y="753"/>
                      </a:cubicBezTo>
                      <a:cubicBezTo>
                        <a:pt x="349" y="752"/>
                        <a:pt x="352" y="752"/>
                        <a:pt x="354" y="751"/>
                      </a:cubicBezTo>
                      <a:cubicBezTo>
                        <a:pt x="356" y="751"/>
                        <a:pt x="359" y="750"/>
                        <a:pt x="362" y="750"/>
                      </a:cubicBezTo>
                      <a:cubicBezTo>
                        <a:pt x="363" y="749"/>
                        <a:pt x="365" y="749"/>
                        <a:pt x="366" y="749"/>
                      </a:cubicBezTo>
                      <a:cubicBezTo>
                        <a:pt x="370" y="748"/>
                        <a:pt x="373" y="748"/>
                        <a:pt x="377" y="747"/>
                      </a:cubicBezTo>
                      <a:cubicBezTo>
                        <a:pt x="378" y="747"/>
                        <a:pt x="379" y="747"/>
                        <a:pt x="379" y="747"/>
                      </a:cubicBezTo>
                      <a:cubicBezTo>
                        <a:pt x="383" y="746"/>
                        <a:pt x="386" y="746"/>
                        <a:pt x="389" y="745"/>
                      </a:cubicBezTo>
                      <a:cubicBezTo>
                        <a:pt x="390" y="745"/>
                        <a:pt x="392" y="745"/>
                        <a:pt x="393" y="745"/>
                      </a:cubicBezTo>
                      <a:cubicBezTo>
                        <a:pt x="397" y="745"/>
                        <a:pt x="401" y="744"/>
                        <a:pt x="404" y="744"/>
                      </a:cubicBezTo>
                      <a:cubicBezTo>
                        <a:pt x="405" y="744"/>
                        <a:pt x="406" y="744"/>
                        <a:pt x="406" y="744"/>
                      </a:cubicBezTo>
                      <a:cubicBezTo>
                        <a:pt x="408" y="744"/>
                        <a:pt x="411" y="744"/>
                        <a:pt x="413" y="744"/>
                      </a:cubicBezTo>
                      <a:cubicBezTo>
                        <a:pt x="413" y="1097"/>
                        <a:pt x="413" y="1097"/>
                        <a:pt x="413" y="1097"/>
                      </a:cubicBezTo>
                      <a:cubicBezTo>
                        <a:pt x="413" y="1107"/>
                        <a:pt x="419" y="1117"/>
                        <a:pt x="428" y="1123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45" y="1316"/>
                        <a:pt x="745" y="1316"/>
                        <a:pt x="745" y="1316"/>
                      </a:cubicBezTo>
                      <a:cubicBezTo>
                        <a:pt x="725" y="1348"/>
                        <a:pt x="699" y="1376"/>
                        <a:pt x="671" y="1400"/>
                      </a:cubicBezTo>
                      <a:cubicBezTo>
                        <a:pt x="670" y="1401"/>
                        <a:pt x="670" y="1401"/>
                        <a:pt x="669" y="1402"/>
                      </a:cubicBezTo>
                      <a:cubicBezTo>
                        <a:pt x="667" y="1403"/>
                        <a:pt x="665" y="1405"/>
                        <a:pt x="663" y="1407"/>
                      </a:cubicBezTo>
                      <a:cubicBezTo>
                        <a:pt x="662" y="1408"/>
                        <a:pt x="660" y="1409"/>
                        <a:pt x="659" y="1410"/>
                      </a:cubicBezTo>
                      <a:cubicBezTo>
                        <a:pt x="658" y="1411"/>
                        <a:pt x="656" y="1412"/>
                        <a:pt x="655" y="1413"/>
                      </a:cubicBezTo>
                      <a:cubicBezTo>
                        <a:pt x="653" y="1414"/>
                        <a:pt x="651" y="1416"/>
                        <a:pt x="648" y="1418"/>
                      </a:cubicBezTo>
                      <a:cubicBezTo>
                        <a:pt x="648" y="1418"/>
                        <a:pt x="647" y="1418"/>
                        <a:pt x="647" y="1419"/>
                      </a:cubicBezTo>
                      <a:cubicBezTo>
                        <a:pt x="588" y="1460"/>
                        <a:pt x="517" y="1485"/>
                        <a:pt x="443" y="1487"/>
                      </a:cubicBezTo>
                      <a:cubicBezTo>
                        <a:pt x="443" y="1487"/>
                        <a:pt x="443" y="1487"/>
                        <a:pt x="443" y="1487"/>
                      </a:cubicBezTo>
                      <a:cubicBezTo>
                        <a:pt x="439" y="1487"/>
                        <a:pt x="436" y="1487"/>
                        <a:pt x="432" y="1487"/>
                      </a:cubicBezTo>
                      <a:cubicBezTo>
                        <a:pt x="428" y="1487"/>
                        <a:pt x="424" y="1487"/>
                        <a:pt x="420" y="1487"/>
                      </a:cubicBezTo>
                      <a:cubicBezTo>
                        <a:pt x="419" y="1487"/>
                        <a:pt x="418" y="1487"/>
                        <a:pt x="417" y="1487"/>
                      </a:cubicBezTo>
                      <a:cubicBezTo>
                        <a:pt x="413" y="1486"/>
                        <a:pt x="410" y="1486"/>
                        <a:pt x="406" y="1486"/>
                      </a:cubicBezTo>
                      <a:cubicBezTo>
                        <a:pt x="406" y="1486"/>
                        <a:pt x="405" y="1486"/>
                        <a:pt x="404" y="1486"/>
                      </a:cubicBezTo>
                      <a:cubicBezTo>
                        <a:pt x="400" y="1486"/>
                        <a:pt x="396" y="1485"/>
                        <a:pt x="392" y="1485"/>
                      </a:cubicBezTo>
                      <a:cubicBezTo>
                        <a:pt x="391" y="1485"/>
                        <a:pt x="390" y="1485"/>
                        <a:pt x="389" y="1484"/>
                      </a:cubicBezTo>
                      <a:cubicBezTo>
                        <a:pt x="386" y="1484"/>
                        <a:pt x="383" y="1484"/>
                        <a:pt x="380" y="1483"/>
                      </a:cubicBezTo>
                      <a:cubicBezTo>
                        <a:pt x="379" y="1483"/>
                        <a:pt x="378" y="1483"/>
                        <a:pt x="377" y="1483"/>
                      </a:cubicBezTo>
                      <a:cubicBezTo>
                        <a:pt x="373" y="1482"/>
                        <a:pt x="369" y="1482"/>
                        <a:pt x="365" y="1481"/>
                      </a:cubicBezTo>
                      <a:cubicBezTo>
                        <a:pt x="364" y="1481"/>
                        <a:pt x="363" y="1480"/>
                        <a:pt x="361" y="1480"/>
                      </a:cubicBezTo>
                      <a:cubicBezTo>
                        <a:pt x="359" y="1480"/>
                        <a:pt x="356" y="1479"/>
                        <a:pt x="354" y="1479"/>
                      </a:cubicBezTo>
                      <a:cubicBezTo>
                        <a:pt x="352" y="1478"/>
                        <a:pt x="351" y="1478"/>
                        <a:pt x="349" y="1478"/>
                      </a:cubicBezTo>
                      <a:cubicBezTo>
                        <a:pt x="346" y="1477"/>
                        <a:pt x="342" y="1476"/>
                        <a:pt x="339" y="1475"/>
                      </a:cubicBezTo>
                      <a:cubicBezTo>
                        <a:pt x="337" y="1475"/>
                        <a:pt x="335" y="1474"/>
                        <a:pt x="333" y="1474"/>
                      </a:cubicBezTo>
                      <a:cubicBezTo>
                        <a:pt x="332" y="1473"/>
                        <a:pt x="330" y="1473"/>
                        <a:pt x="328" y="1472"/>
                      </a:cubicBezTo>
                      <a:cubicBezTo>
                        <a:pt x="174" y="1427"/>
                        <a:pt x="60" y="1284"/>
                        <a:pt x="60" y="1115"/>
                      </a:cubicBezTo>
                      <a:close/>
                      <a:moveTo>
                        <a:pt x="1250" y="1623"/>
                      </a:moveTo>
                      <a:cubicBezTo>
                        <a:pt x="474" y="1623"/>
                        <a:pt x="474" y="1623"/>
                        <a:pt x="474" y="1623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4" y="1545"/>
                        <a:pt x="474" y="1545"/>
                        <a:pt x="474" y="1545"/>
                      </a:cubicBezTo>
                      <a:cubicBezTo>
                        <a:pt x="477" y="1545"/>
                        <a:pt x="481" y="1544"/>
                        <a:pt x="484" y="1544"/>
                      </a:cubicBezTo>
                      <a:cubicBezTo>
                        <a:pt x="485" y="1544"/>
                        <a:pt x="486" y="1544"/>
                        <a:pt x="488" y="1543"/>
                      </a:cubicBezTo>
                      <a:cubicBezTo>
                        <a:pt x="491" y="1543"/>
                        <a:pt x="495" y="1542"/>
                        <a:pt x="498" y="1542"/>
                      </a:cubicBezTo>
                      <a:cubicBezTo>
                        <a:pt x="499" y="1542"/>
                        <a:pt x="500" y="1542"/>
                        <a:pt x="501" y="1542"/>
                      </a:cubicBezTo>
                      <a:cubicBezTo>
                        <a:pt x="505" y="1541"/>
                        <a:pt x="508" y="1540"/>
                        <a:pt x="511" y="1540"/>
                      </a:cubicBezTo>
                      <a:cubicBezTo>
                        <a:pt x="512" y="1540"/>
                        <a:pt x="514" y="1539"/>
                        <a:pt x="515" y="1539"/>
                      </a:cubicBezTo>
                      <a:cubicBezTo>
                        <a:pt x="518" y="1539"/>
                        <a:pt x="521" y="1538"/>
                        <a:pt x="524" y="1537"/>
                      </a:cubicBezTo>
                      <a:cubicBezTo>
                        <a:pt x="525" y="1537"/>
                        <a:pt x="527" y="1537"/>
                        <a:pt x="528" y="1536"/>
                      </a:cubicBezTo>
                      <a:cubicBezTo>
                        <a:pt x="531" y="1536"/>
                        <a:pt x="534" y="1535"/>
                        <a:pt x="536" y="1534"/>
                      </a:cubicBezTo>
                      <a:cubicBezTo>
                        <a:pt x="538" y="1534"/>
                        <a:pt x="540" y="1533"/>
                        <a:pt x="542" y="1533"/>
                      </a:cubicBezTo>
                      <a:cubicBezTo>
                        <a:pt x="544" y="1532"/>
                        <a:pt x="546" y="1532"/>
                        <a:pt x="548" y="1531"/>
                      </a:cubicBezTo>
                      <a:cubicBezTo>
                        <a:pt x="550" y="1531"/>
                        <a:pt x="553" y="1530"/>
                        <a:pt x="555" y="1529"/>
                      </a:cubicBezTo>
                      <a:cubicBezTo>
                        <a:pt x="557" y="1529"/>
                        <a:pt x="558" y="1528"/>
                        <a:pt x="560" y="1528"/>
                      </a:cubicBezTo>
                      <a:cubicBezTo>
                        <a:pt x="563" y="1527"/>
                        <a:pt x="566" y="1526"/>
                        <a:pt x="569" y="1525"/>
                      </a:cubicBezTo>
                      <a:cubicBezTo>
                        <a:pt x="569" y="1525"/>
                        <a:pt x="570" y="1524"/>
                        <a:pt x="571" y="1524"/>
                      </a:cubicBezTo>
                      <a:cubicBezTo>
                        <a:pt x="663" y="1493"/>
                        <a:pt x="743" y="1431"/>
                        <a:pt x="797" y="1347"/>
                      </a:cubicBezTo>
                      <a:cubicBezTo>
                        <a:pt x="841" y="1374"/>
                        <a:pt x="841" y="1374"/>
                        <a:pt x="841" y="1374"/>
                      </a:cubicBezTo>
                      <a:cubicBezTo>
                        <a:pt x="842" y="1375"/>
                        <a:pt x="843" y="1375"/>
                        <a:pt x="844" y="1376"/>
                      </a:cubicBezTo>
                      <a:cubicBezTo>
                        <a:pt x="844" y="1376"/>
                        <a:pt x="845" y="1376"/>
                        <a:pt x="845" y="1376"/>
                      </a:cubicBezTo>
                      <a:cubicBezTo>
                        <a:pt x="846" y="1376"/>
                        <a:pt x="847" y="1377"/>
                        <a:pt x="847" y="1377"/>
                      </a:cubicBezTo>
                      <a:cubicBezTo>
                        <a:pt x="848" y="1377"/>
                        <a:pt x="848" y="1377"/>
                        <a:pt x="848" y="1377"/>
                      </a:cubicBezTo>
                      <a:cubicBezTo>
                        <a:pt x="850" y="1378"/>
                        <a:pt x="851" y="1378"/>
                        <a:pt x="852" y="1378"/>
                      </a:cubicBezTo>
                      <a:cubicBezTo>
                        <a:pt x="852" y="1378"/>
                        <a:pt x="852" y="1378"/>
                        <a:pt x="852" y="1378"/>
                      </a:cubicBezTo>
                      <a:cubicBezTo>
                        <a:pt x="853" y="1378"/>
                        <a:pt x="855" y="1378"/>
                        <a:pt x="856" y="1378"/>
                      </a:cubicBezTo>
                      <a:cubicBezTo>
                        <a:pt x="856" y="1378"/>
                        <a:pt x="856" y="1378"/>
                        <a:pt x="856" y="1378"/>
                      </a:cubicBezTo>
                      <a:cubicBezTo>
                        <a:pt x="856" y="1378"/>
                        <a:pt x="857" y="1378"/>
                        <a:pt x="857" y="1378"/>
                      </a:cubicBezTo>
                      <a:cubicBezTo>
                        <a:pt x="858" y="1378"/>
                        <a:pt x="859" y="1378"/>
                        <a:pt x="859" y="1378"/>
                      </a:cubicBezTo>
                      <a:cubicBezTo>
                        <a:pt x="860" y="1378"/>
                        <a:pt x="860" y="1378"/>
                        <a:pt x="861" y="1378"/>
                      </a:cubicBezTo>
                      <a:cubicBezTo>
                        <a:pt x="862" y="1378"/>
                        <a:pt x="863" y="1378"/>
                        <a:pt x="864" y="1377"/>
                      </a:cubicBezTo>
                      <a:cubicBezTo>
                        <a:pt x="872" y="1375"/>
                        <a:pt x="879" y="1370"/>
                        <a:pt x="883" y="1362"/>
                      </a:cubicBezTo>
                      <a:cubicBezTo>
                        <a:pt x="922" y="1287"/>
                        <a:pt x="943" y="1201"/>
                        <a:pt x="943" y="1115"/>
                      </a:cubicBezTo>
                      <a:cubicBezTo>
                        <a:pt x="943" y="1091"/>
                        <a:pt x="942" y="1066"/>
                        <a:pt x="938" y="1042"/>
                      </a:cubicBezTo>
                      <a:cubicBezTo>
                        <a:pt x="936" y="1025"/>
                        <a:pt x="921" y="1014"/>
                        <a:pt x="904" y="1016"/>
                      </a:cubicBezTo>
                      <a:cubicBezTo>
                        <a:pt x="889" y="1018"/>
                        <a:pt x="878" y="1032"/>
                        <a:pt x="879" y="1047"/>
                      </a:cubicBezTo>
                      <a:cubicBezTo>
                        <a:pt x="879" y="1048"/>
                        <a:pt x="879" y="1049"/>
                        <a:pt x="879" y="1050"/>
                      </a:cubicBezTo>
                      <a:cubicBezTo>
                        <a:pt x="882" y="1071"/>
                        <a:pt x="883" y="1093"/>
                        <a:pt x="883" y="1115"/>
                      </a:cubicBezTo>
                      <a:cubicBezTo>
                        <a:pt x="883" y="1181"/>
                        <a:pt x="870" y="1246"/>
                        <a:pt x="843" y="1305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802" y="1280"/>
                        <a:pt x="802" y="1280"/>
                        <a:pt x="802" y="1280"/>
                      </a:cubicBezTo>
                      <a:cubicBezTo>
                        <a:pt x="473" y="1080"/>
                        <a:pt x="473" y="1080"/>
                        <a:pt x="473" y="1080"/>
                      </a:cubicBezTo>
                      <a:cubicBezTo>
                        <a:pt x="473" y="713"/>
                        <a:pt x="473" y="713"/>
                        <a:pt x="473" y="713"/>
                      </a:cubicBezTo>
                      <a:cubicBezTo>
                        <a:pt x="473" y="647"/>
                        <a:pt x="473" y="647"/>
                        <a:pt x="473" y="647"/>
                      </a:cubicBezTo>
                      <a:cubicBezTo>
                        <a:pt x="474" y="647"/>
                        <a:pt x="474" y="647"/>
                        <a:pt x="474" y="647"/>
                      </a:cubicBezTo>
                      <a:cubicBezTo>
                        <a:pt x="475" y="647"/>
                        <a:pt x="477" y="647"/>
                        <a:pt x="478" y="647"/>
                      </a:cubicBezTo>
                      <a:cubicBezTo>
                        <a:pt x="482" y="648"/>
                        <a:pt x="486" y="648"/>
                        <a:pt x="490" y="649"/>
                      </a:cubicBezTo>
                      <a:cubicBezTo>
                        <a:pt x="491" y="649"/>
                        <a:pt x="493" y="650"/>
                        <a:pt x="495" y="650"/>
                      </a:cubicBezTo>
                      <a:cubicBezTo>
                        <a:pt x="498" y="651"/>
                        <a:pt x="502" y="651"/>
                        <a:pt x="505" y="652"/>
                      </a:cubicBezTo>
                      <a:cubicBezTo>
                        <a:pt x="507" y="652"/>
                        <a:pt x="509" y="653"/>
                        <a:pt x="511" y="653"/>
                      </a:cubicBezTo>
                      <a:cubicBezTo>
                        <a:pt x="514" y="654"/>
                        <a:pt x="517" y="655"/>
                        <a:pt x="521" y="655"/>
                      </a:cubicBezTo>
                      <a:cubicBezTo>
                        <a:pt x="522" y="656"/>
                        <a:pt x="524" y="656"/>
                        <a:pt x="526" y="657"/>
                      </a:cubicBezTo>
                      <a:cubicBezTo>
                        <a:pt x="529" y="658"/>
                        <a:pt x="533" y="658"/>
                        <a:pt x="536" y="659"/>
                      </a:cubicBezTo>
                      <a:cubicBezTo>
                        <a:pt x="538" y="660"/>
                        <a:pt x="540" y="660"/>
                        <a:pt x="541" y="661"/>
                      </a:cubicBezTo>
                      <a:cubicBezTo>
                        <a:pt x="545" y="662"/>
                        <a:pt x="548" y="663"/>
                        <a:pt x="552" y="664"/>
                      </a:cubicBezTo>
                      <a:cubicBezTo>
                        <a:pt x="553" y="664"/>
                        <a:pt x="555" y="665"/>
                        <a:pt x="556" y="665"/>
                      </a:cubicBezTo>
                      <a:cubicBezTo>
                        <a:pt x="561" y="667"/>
                        <a:pt x="565" y="668"/>
                        <a:pt x="569" y="670"/>
                      </a:cubicBezTo>
                      <a:cubicBezTo>
                        <a:pt x="570" y="670"/>
                        <a:pt x="570" y="670"/>
                        <a:pt x="571" y="670"/>
                      </a:cubicBezTo>
                      <a:cubicBezTo>
                        <a:pt x="576" y="672"/>
                        <a:pt x="581" y="674"/>
                        <a:pt x="586" y="676"/>
                      </a:cubicBezTo>
                      <a:cubicBezTo>
                        <a:pt x="587" y="676"/>
                        <a:pt x="587" y="677"/>
                        <a:pt x="588" y="677"/>
                      </a:cubicBezTo>
                      <a:cubicBezTo>
                        <a:pt x="592" y="679"/>
                        <a:pt x="596" y="680"/>
                        <a:pt x="600" y="682"/>
                      </a:cubicBezTo>
                      <a:cubicBezTo>
                        <a:pt x="602" y="683"/>
                        <a:pt x="603" y="683"/>
                        <a:pt x="605" y="684"/>
                      </a:cubicBezTo>
                      <a:cubicBezTo>
                        <a:pt x="608" y="686"/>
                        <a:pt x="611" y="687"/>
                        <a:pt x="614" y="689"/>
                      </a:cubicBezTo>
                      <a:cubicBezTo>
                        <a:pt x="616" y="689"/>
                        <a:pt x="618" y="690"/>
                        <a:pt x="619" y="691"/>
                      </a:cubicBezTo>
                      <a:cubicBezTo>
                        <a:pt x="622" y="693"/>
                        <a:pt x="625" y="694"/>
                        <a:pt x="628" y="696"/>
                      </a:cubicBezTo>
                      <a:cubicBezTo>
                        <a:pt x="630" y="697"/>
                        <a:pt x="632" y="697"/>
                        <a:pt x="634" y="698"/>
                      </a:cubicBezTo>
                      <a:cubicBezTo>
                        <a:pt x="637" y="700"/>
                        <a:pt x="639" y="702"/>
                        <a:pt x="642" y="703"/>
                      </a:cubicBezTo>
                      <a:cubicBezTo>
                        <a:pt x="644" y="704"/>
                        <a:pt x="646" y="705"/>
                        <a:pt x="647" y="706"/>
                      </a:cubicBezTo>
                      <a:cubicBezTo>
                        <a:pt x="650" y="708"/>
                        <a:pt x="653" y="710"/>
                        <a:pt x="656" y="711"/>
                      </a:cubicBezTo>
                      <a:cubicBezTo>
                        <a:pt x="658" y="712"/>
                        <a:pt x="659" y="713"/>
                        <a:pt x="661" y="714"/>
                      </a:cubicBezTo>
                      <a:cubicBezTo>
                        <a:pt x="664" y="716"/>
                        <a:pt x="667" y="718"/>
                        <a:pt x="671" y="720"/>
                      </a:cubicBezTo>
                      <a:cubicBezTo>
                        <a:pt x="672" y="721"/>
                        <a:pt x="673" y="722"/>
                        <a:pt x="674" y="723"/>
                      </a:cubicBezTo>
                      <a:cubicBezTo>
                        <a:pt x="678" y="726"/>
                        <a:pt x="683" y="729"/>
                        <a:pt x="687" y="732"/>
                      </a:cubicBezTo>
                      <a:cubicBezTo>
                        <a:pt x="688" y="732"/>
                        <a:pt x="688" y="733"/>
                        <a:pt x="689" y="733"/>
                      </a:cubicBezTo>
                      <a:cubicBezTo>
                        <a:pt x="693" y="736"/>
                        <a:pt x="696" y="739"/>
                        <a:pt x="700" y="742"/>
                      </a:cubicBezTo>
                      <a:cubicBezTo>
                        <a:pt x="701" y="742"/>
                        <a:pt x="701" y="742"/>
                        <a:pt x="701" y="743"/>
                      </a:cubicBezTo>
                      <a:cubicBezTo>
                        <a:pt x="705" y="746"/>
                        <a:pt x="709" y="749"/>
                        <a:pt x="713" y="752"/>
                      </a:cubicBezTo>
                      <a:cubicBezTo>
                        <a:pt x="713" y="752"/>
                        <a:pt x="713" y="752"/>
                        <a:pt x="714" y="753"/>
                      </a:cubicBezTo>
                      <a:cubicBezTo>
                        <a:pt x="718" y="756"/>
                        <a:pt x="721" y="759"/>
                        <a:pt x="725" y="762"/>
                      </a:cubicBezTo>
                      <a:cubicBezTo>
                        <a:pt x="725" y="762"/>
                        <a:pt x="725" y="762"/>
                        <a:pt x="725" y="762"/>
                      </a:cubicBezTo>
                      <a:cubicBezTo>
                        <a:pt x="774" y="806"/>
                        <a:pt x="813" y="858"/>
                        <a:pt x="840" y="917"/>
                      </a:cubicBezTo>
                      <a:cubicBezTo>
                        <a:pt x="842" y="922"/>
                        <a:pt x="844" y="927"/>
                        <a:pt x="846" y="932"/>
                      </a:cubicBezTo>
                      <a:cubicBezTo>
                        <a:pt x="847" y="932"/>
                        <a:pt x="847" y="932"/>
                        <a:pt x="847" y="933"/>
                      </a:cubicBezTo>
                      <a:cubicBezTo>
                        <a:pt x="847" y="934"/>
                        <a:pt x="848" y="935"/>
                        <a:pt x="848" y="936"/>
                      </a:cubicBezTo>
                      <a:cubicBezTo>
                        <a:pt x="848" y="936"/>
                        <a:pt x="849" y="936"/>
                        <a:pt x="849" y="936"/>
                      </a:cubicBezTo>
                      <a:cubicBezTo>
                        <a:pt x="850" y="939"/>
                        <a:pt x="852" y="941"/>
                        <a:pt x="854" y="942"/>
                      </a:cubicBezTo>
                      <a:cubicBezTo>
                        <a:pt x="854" y="943"/>
                        <a:pt x="854" y="943"/>
                        <a:pt x="855" y="943"/>
                      </a:cubicBezTo>
                      <a:cubicBezTo>
                        <a:pt x="857" y="945"/>
                        <a:pt x="859" y="946"/>
                        <a:pt x="861" y="947"/>
                      </a:cubicBezTo>
                      <a:cubicBezTo>
                        <a:pt x="861" y="947"/>
                        <a:pt x="862" y="948"/>
                        <a:pt x="862" y="948"/>
                      </a:cubicBezTo>
                      <a:cubicBezTo>
                        <a:pt x="864" y="949"/>
                        <a:pt x="867" y="949"/>
                        <a:pt x="869" y="950"/>
                      </a:cubicBezTo>
                      <a:cubicBezTo>
                        <a:pt x="870" y="950"/>
                        <a:pt x="870" y="950"/>
                        <a:pt x="870" y="950"/>
                      </a:cubicBezTo>
                      <a:cubicBezTo>
                        <a:pt x="875" y="951"/>
                        <a:pt x="881" y="950"/>
                        <a:pt x="886" y="948"/>
                      </a:cubicBezTo>
                      <a:cubicBezTo>
                        <a:pt x="901" y="941"/>
                        <a:pt x="908" y="924"/>
                        <a:pt x="902" y="909"/>
                      </a:cubicBezTo>
                      <a:cubicBezTo>
                        <a:pt x="899" y="903"/>
                        <a:pt x="897" y="897"/>
                        <a:pt x="894" y="892"/>
                      </a:cubicBezTo>
                      <a:cubicBezTo>
                        <a:pt x="879" y="859"/>
                        <a:pt x="861" y="828"/>
                        <a:pt x="839" y="799"/>
                      </a:cubicBezTo>
                      <a:cubicBezTo>
                        <a:pt x="936" y="671"/>
                        <a:pt x="936" y="671"/>
                        <a:pt x="936" y="671"/>
                      </a:cubicBezTo>
                      <a:cubicBezTo>
                        <a:pt x="948" y="676"/>
                        <a:pt x="962" y="678"/>
                        <a:pt x="976" y="678"/>
                      </a:cubicBezTo>
                      <a:cubicBezTo>
                        <a:pt x="1005" y="678"/>
                        <a:pt x="1031" y="668"/>
                        <a:pt x="1052" y="651"/>
                      </a:cubicBezTo>
                      <a:cubicBezTo>
                        <a:pt x="1223" y="747"/>
                        <a:pt x="1223" y="747"/>
                        <a:pt x="1223" y="747"/>
                      </a:cubicBezTo>
                      <a:cubicBezTo>
                        <a:pt x="1223" y="748"/>
                        <a:pt x="1223" y="749"/>
                        <a:pt x="1223" y="750"/>
                      </a:cubicBezTo>
                      <a:cubicBezTo>
                        <a:pt x="1223" y="751"/>
                        <a:pt x="1222" y="751"/>
                        <a:pt x="1222" y="752"/>
                      </a:cubicBezTo>
                      <a:cubicBezTo>
                        <a:pt x="1222" y="753"/>
                        <a:pt x="1222" y="754"/>
                        <a:pt x="1222" y="755"/>
                      </a:cubicBezTo>
                      <a:cubicBezTo>
                        <a:pt x="1222" y="756"/>
                        <a:pt x="1222" y="757"/>
                        <a:pt x="1222" y="758"/>
                      </a:cubicBezTo>
                      <a:cubicBezTo>
                        <a:pt x="1222" y="759"/>
                        <a:pt x="1222" y="760"/>
                        <a:pt x="1222" y="761"/>
                      </a:cubicBezTo>
                      <a:cubicBezTo>
                        <a:pt x="1222" y="763"/>
                        <a:pt x="1221" y="765"/>
                        <a:pt x="1221" y="767"/>
                      </a:cubicBezTo>
                      <a:cubicBezTo>
                        <a:pt x="1221" y="768"/>
                        <a:pt x="1222" y="770"/>
                        <a:pt x="1222" y="772"/>
                      </a:cubicBezTo>
                      <a:cubicBezTo>
                        <a:pt x="1222" y="773"/>
                        <a:pt x="1222" y="774"/>
                        <a:pt x="1222" y="775"/>
                      </a:cubicBezTo>
                      <a:cubicBezTo>
                        <a:pt x="1222" y="776"/>
                        <a:pt x="1222" y="777"/>
                        <a:pt x="1222" y="778"/>
                      </a:cubicBezTo>
                      <a:cubicBezTo>
                        <a:pt x="1222" y="779"/>
                        <a:pt x="1222" y="780"/>
                        <a:pt x="1222" y="781"/>
                      </a:cubicBezTo>
                      <a:cubicBezTo>
                        <a:pt x="1222" y="782"/>
                        <a:pt x="1223" y="783"/>
                        <a:pt x="1223" y="783"/>
                      </a:cubicBezTo>
                      <a:cubicBezTo>
                        <a:pt x="1223" y="785"/>
                        <a:pt x="1223" y="786"/>
                        <a:pt x="1223" y="787"/>
                      </a:cubicBezTo>
                      <a:cubicBezTo>
                        <a:pt x="1223" y="788"/>
                        <a:pt x="1223" y="788"/>
                        <a:pt x="1223" y="788"/>
                      </a:cubicBezTo>
                      <a:cubicBezTo>
                        <a:pt x="1226" y="802"/>
                        <a:pt x="1231" y="815"/>
                        <a:pt x="1238" y="827"/>
                      </a:cubicBezTo>
                      <a:cubicBezTo>
                        <a:pt x="1238" y="827"/>
                        <a:pt x="1238" y="827"/>
                        <a:pt x="1238" y="827"/>
                      </a:cubicBezTo>
                      <a:cubicBezTo>
                        <a:pt x="1239" y="829"/>
                        <a:pt x="1239" y="830"/>
                        <a:pt x="1240" y="831"/>
                      </a:cubicBezTo>
                      <a:cubicBezTo>
                        <a:pt x="1240" y="831"/>
                        <a:pt x="1241" y="832"/>
                        <a:pt x="1241" y="833"/>
                      </a:cubicBezTo>
                      <a:cubicBezTo>
                        <a:pt x="1242" y="833"/>
                        <a:pt x="1242" y="834"/>
                        <a:pt x="1243" y="835"/>
                      </a:cubicBezTo>
                      <a:cubicBezTo>
                        <a:pt x="1243" y="836"/>
                        <a:pt x="1244" y="837"/>
                        <a:pt x="1245" y="838"/>
                      </a:cubicBezTo>
                      <a:cubicBezTo>
                        <a:pt x="1245" y="838"/>
                        <a:pt x="1245" y="839"/>
                        <a:pt x="1246" y="839"/>
                      </a:cubicBezTo>
                      <a:cubicBezTo>
                        <a:pt x="1247" y="840"/>
                        <a:pt x="1248" y="842"/>
                        <a:pt x="1249" y="843"/>
                      </a:cubicBezTo>
                      <a:cubicBezTo>
                        <a:pt x="1249" y="843"/>
                        <a:pt x="1249" y="843"/>
                        <a:pt x="1249" y="843"/>
                      </a:cubicBezTo>
                      <a:cubicBezTo>
                        <a:pt x="1249" y="844"/>
                        <a:pt x="1250" y="844"/>
                        <a:pt x="1250" y="845"/>
                      </a:cubicBezTo>
                      <a:cubicBezTo>
                        <a:pt x="1250" y="1006"/>
                        <a:pt x="1250" y="1006"/>
                        <a:pt x="1250" y="1006"/>
                      </a:cubicBezTo>
                      <a:cubicBezTo>
                        <a:pt x="1050" y="1006"/>
                        <a:pt x="1050" y="1006"/>
                        <a:pt x="1050" y="1006"/>
                      </a:cubicBezTo>
                      <a:cubicBezTo>
                        <a:pt x="1033" y="1006"/>
                        <a:pt x="1020" y="1019"/>
                        <a:pt x="1020" y="1036"/>
                      </a:cubicBezTo>
                      <a:cubicBezTo>
                        <a:pt x="1020" y="1470"/>
                        <a:pt x="1020" y="1470"/>
                        <a:pt x="1020" y="1470"/>
                      </a:cubicBezTo>
                      <a:cubicBezTo>
                        <a:pt x="1020" y="1486"/>
                        <a:pt x="1033" y="1500"/>
                        <a:pt x="1050" y="1500"/>
                      </a:cubicBezTo>
                      <a:cubicBezTo>
                        <a:pt x="1250" y="1500"/>
                        <a:pt x="1250" y="1500"/>
                        <a:pt x="1250" y="1500"/>
                      </a:cubicBezTo>
                      <a:cubicBezTo>
                        <a:pt x="1250" y="1623"/>
                        <a:pt x="1250" y="1623"/>
                        <a:pt x="1250" y="1623"/>
                      </a:cubicBezTo>
                      <a:close/>
                      <a:moveTo>
                        <a:pt x="1690" y="1440"/>
                      </a:moveTo>
                      <a:cubicBezTo>
                        <a:pt x="1690" y="1440"/>
                        <a:pt x="1690" y="1440"/>
                        <a:pt x="169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440"/>
                        <a:pt x="1080" y="1440"/>
                        <a:pt x="1080" y="1440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080" y="1066"/>
                        <a:pt x="1080" y="1066"/>
                        <a:pt x="108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cubicBezTo>
                        <a:pt x="1690" y="1066"/>
                        <a:pt x="1690" y="1066"/>
                        <a:pt x="1690" y="1066"/>
                      </a:cubicBezTo>
                      <a:lnTo>
                        <a:pt x="1690" y="14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370" name="TextBox 369"/>
              <p:cNvSpPr txBox="1"/>
              <p:nvPr/>
            </p:nvSpPr>
            <p:spPr>
              <a:xfrm>
                <a:off x="1512934" y="2171175"/>
                <a:ext cx="309380" cy="9233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</a:pPr>
                <a:r>
                  <a:rPr lang="en-US" sz="600" dirty="0">
                    <a:solidFill>
                      <a:schemeClr val="tx2"/>
                    </a:solidFill>
                    <a:latin typeface="+mj-lt"/>
                  </a:rPr>
                  <a:t>Analytics</a:t>
                </a:r>
              </a:p>
            </p:txBody>
          </p:sp>
        </p:grpSp>
      </p:grpSp>
      <p:grpSp>
        <p:nvGrpSpPr>
          <p:cNvPr id="171" name="Group 170"/>
          <p:cNvGrpSpPr/>
          <p:nvPr/>
        </p:nvGrpSpPr>
        <p:grpSpPr>
          <a:xfrm>
            <a:off x="4257048" y="3718979"/>
            <a:ext cx="512615" cy="512615"/>
            <a:chOff x="1739451" y="3733156"/>
            <a:chExt cx="502920" cy="502920"/>
          </a:xfrm>
        </p:grpSpPr>
        <p:sp>
          <p:nvSpPr>
            <p:cNvPr id="163" name="Oval 162"/>
            <p:cNvSpPr/>
            <p:nvPr/>
          </p:nvSpPr>
          <p:spPr>
            <a:xfrm>
              <a:off x="1739451" y="3733156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1898700" y="3797374"/>
              <a:ext cx="184422" cy="180140"/>
              <a:chOff x="6611938" y="2822576"/>
              <a:chExt cx="957263" cy="935037"/>
            </a:xfrm>
            <a:solidFill>
              <a:schemeClr val="tx2"/>
            </a:solidFill>
          </p:grpSpPr>
          <p:sp>
            <p:nvSpPr>
              <p:cNvPr id="128" name="Freeform 288"/>
              <p:cNvSpPr>
                <a:spLocks noEditPoints="1"/>
              </p:cNvSpPr>
              <p:nvPr/>
            </p:nvSpPr>
            <p:spPr bwMode="auto">
              <a:xfrm>
                <a:off x="6611938" y="2822576"/>
                <a:ext cx="957263" cy="935037"/>
              </a:xfrm>
              <a:custGeom>
                <a:avLst/>
                <a:gdLst>
                  <a:gd name="T0" fmla="*/ 401 w 422"/>
                  <a:gd name="T1" fmla="*/ 63 h 413"/>
                  <a:gd name="T2" fmla="*/ 399 w 422"/>
                  <a:gd name="T3" fmla="*/ 58 h 413"/>
                  <a:gd name="T4" fmla="*/ 395 w 422"/>
                  <a:gd name="T5" fmla="*/ 62 h 413"/>
                  <a:gd name="T6" fmla="*/ 344 w 422"/>
                  <a:gd name="T7" fmla="*/ 112 h 413"/>
                  <a:gd name="T8" fmla="*/ 343 w 422"/>
                  <a:gd name="T9" fmla="*/ 113 h 413"/>
                  <a:gd name="T10" fmla="*/ 328 w 422"/>
                  <a:gd name="T11" fmla="*/ 118 h 413"/>
                  <a:gd name="T12" fmla="*/ 327 w 422"/>
                  <a:gd name="T13" fmla="*/ 118 h 413"/>
                  <a:gd name="T14" fmla="*/ 310 w 422"/>
                  <a:gd name="T15" fmla="*/ 109 h 413"/>
                  <a:gd name="T16" fmla="*/ 311 w 422"/>
                  <a:gd name="T17" fmla="*/ 73 h 413"/>
                  <a:gd name="T18" fmla="*/ 329 w 422"/>
                  <a:gd name="T19" fmla="*/ 56 h 413"/>
                  <a:gd name="T20" fmla="*/ 362 w 422"/>
                  <a:gd name="T21" fmla="*/ 24 h 413"/>
                  <a:gd name="T22" fmla="*/ 366 w 422"/>
                  <a:gd name="T23" fmla="*/ 19 h 413"/>
                  <a:gd name="T24" fmla="*/ 360 w 422"/>
                  <a:gd name="T25" fmla="*/ 17 h 413"/>
                  <a:gd name="T26" fmla="*/ 275 w 422"/>
                  <a:gd name="T27" fmla="*/ 37 h 413"/>
                  <a:gd name="T28" fmla="*/ 258 w 422"/>
                  <a:gd name="T29" fmla="*/ 119 h 413"/>
                  <a:gd name="T30" fmla="*/ 115 w 422"/>
                  <a:gd name="T31" fmla="*/ 261 h 413"/>
                  <a:gd name="T32" fmla="*/ 40 w 422"/>
                  <a:gd name="T33" fmla="*/ 273 h 413"/>
                  <a:gd name="T34" fmla="*/ 12 w 422"/>
                  <a:gd name="T35" fmla="*/ 364 h 413"/>
                  <a:gd name="T36" fmla="*/ 14 w 422"/>
                  <a:gd name="T37" fmla="*/ 372 h 413"/>
                  <a:gd name="T38" fmla="*/ 19 w 422"/>
                  <a:gd name="T39" fmla="*/ 366 h 413"/>
                  <a:gd name="T40" fmla="*/ 71 w 422"/>
                  <a:gd name="T41" fmla="*/ 313 h 413"/>
                  <a:gd name="T42" fmla="*/ 103 w 422"/>
                  <a:gd name="T43" fmla="*/ 316 h 413"/>
                  <a:gd name="T44" fmla="*/ 109 w 422"/>
                  <a:gd name="T45" fmla="*/ 350 h 413"/>
                  <a:gd name="T46" fmla="*/ 59 w 422"/>
                  <a:gd name="T47" fmla="*/ 402 h 413"/>
                  <a:gd name="T48" fmla="*/ 54 w 422"/>
                  <a:gd name="T49" fmla="*/ 406 h 413"/>
                  <a:gd name="T50" fmla="*/ 60 w 422"/>
                  <a:gd name="T51" fmla="*/ 408 h 413"/>
                  <a:gd name="T52" fmla="*/ 88 w 422"/>
                  <a:gd name="T53" fmla="*/ 413 h 413"/>
                  <a:gd name="T54" fmla="*/ 145 w 422"/>
                  <a:gd name="T55" fmla="*/ 386 h 413"/>
                  <a:gd name="T56" fmla="*/ 158 w 422"/>
                  <a:gd name="T57" fmla="*/ 307 h 413"/>
                  <a:gd name="T58" fmla="*/ 301 w 422"/>
                  <a:gd name="T59" fmla="*/ 162 h 413"/>
                  <a:gd name="T60" fmla="*/ 392 w 422"/>
                  <a:gd name="T61" fmla="*/ 139 h 413"/>
                  <a:gd name="T62" fmla="*/ 401 w 422"/>
                  <a:gd name="T63" fmla="*/ 63 h 413"/>
                  <a:gd name="T64" fmla="*/ 386 w 422"/>
                  <a:gd name="T65" fmla="*/ 134 h 413"/>
                  <a:gd name="T66" fmla="*/ 302 w 422"/>
                  <a:gd name="T67" fmla="*/ 154 h 413"/>
                  <a:gd name="T68" fmla="*/ 300 w 422"/>
                  <a:gd name="T69" fmla="*/ 153 h 413"/>
                  <a:gd name="T70" fmla="*/ 148 w 422"/>
                  <a:gd name="T71" fmla="*/ 305 h 413"/>
                  <a:gd name="T72" fmla="*/ 150 w 422"/>
                  <a:gd name="T73" fmla="*/ 308 h 413"/>
                  <a:gd name="T74" fmla="*/ 139 w 422"/>
                  <a:gd name="T75" fmla="*/ 381 h 413"/>
                  <a:gd name="T76" fmla="*/ 69 w 422"/>
                  <a:gd name="T77" fmla="*/ 403 h 413"/>
                  <a:gd name="T78" fmla="*/ 115 w 422"/>
                  <a:gd name="T79" fmla="*/ 355 h 413"/>
                  <a:gd name="T80" fmla="*/ 115 w 422"/>
                  <a:gd name="T81" fmla="*/ 355 h 413"/>
                  <a:gd name="T82" fmla="*/ 108 w 422"/>
                  <a:gd name="T83" fmla="*/ 310 h 413"/>
                  <a:gd name="T84" fmla="*/ 66 w 422"/>
                  <a:gd name="T85" fmla="*/ 308 h 413"/>
                  <a:gd name="T86" fmla="*/ 19 w 422"/>
                  <a:gd name="T87" fmla="*/ 355 h 413"/>
                  <a:gd name="T88" fmla="*/ 45 w 422"/>
                  <a:gd name="T89" fmla="*/ 280 h 413"/>
                  <a:gd name="T90" fmla="*/ 114 w 422"/>
                  <a:gd name="T91" fmla="*/ 269 h 413"/>
                  <a:gd name="T92" fmla="*/ 116 w 422"/>
                  <a:gd name="T93" fmla="*/ 271 h 413"/>
                  <a:gd name="T94" fmla="*/ 265 w 422"/>
                  <a:gd name="T95" fmla="*/ 123 h 413"/>
                  <a:gd name="T96" fmla="*/ 267 w 422"/>
                  <a:gd name="T97" fmla="*/ 121 h 413"/>
                  <a:gd name="T98" fmla="*/ 266 w 422"/>
                  <a:gd name="T99" fmla="*/ 118 h 413"/>
                  <a:gd name="T100" fmla="*/ 281 w 422"/>
                  <a:gd name="T101" fmla="*/ 43 h 413"/>
                  <a:gd name="T102" fmla="*/ 351 w 422"/>
                  <a:gd name="T103" fmla="*/ 23 h 413"/>
                  <a:gd name="T104" fmla="*/ 323 w 422"/>
                  <a:gd name="T105" fmla="*/ 50 h 413"/>
                  <a:gd name="T106" fmla="*/ 305 w 422"/>
                  <a:gd name="T107" fmla="*/ 68 h 413"/>
                  <a:gd name="T108" fmla="*/ 304 w 422"/>
                  <a:gd name="T109" fmla="*/ 114 h 413"/>
                  <a:gd name="T110" fmla="*/ 328 w 422"/>
                  <a:gd name="T111" fmla="*/ 126 h 413"/>
                  <a:gd name="T112" fmla="*/ 328 w 422"/>
                  <a:gd name="T113" fmla="*/ 126 h 413"/>
                  <a:gd name="T114" fmla="*/ 349 w 422"/>
                  <a:gd name="T115" fmla="*/ 118 h 413"/>
                  <a:gd name="T116" fmla="*/ 396 w 422"/>
                  <a:gd name="T117" fmla="*/ 72 h 413"/>
                  <a:gd name="T118" fmla="*/ 386 w 422"/>
                  <a:gd name="T119" fmla="*/ 134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2" h="413">
                    <a:moveTo>
                      <a:pt x="401" y="63"/>
                    </a:moveTo>
                    <a:cubicBezTo>
                      <a:pt x="399" y="58"/>
                      <a:pt x="399" y="58"/>
                      <a:pt x="399" y="58"/>
                    </a:cubicBezTo>
                    <a:cubicBezTo>
                      <a:pt x="395" y="62"/>
                      <a:pt x="395" y="62"/>
                      <a:pt x="395" y="62"/>
                    </a:cubicBezTo>
                    <a:cubicBezTo>
                      <a:pt x="376" y="81"/>
                      <a:pt x="346" y="110"/>
                      <a:pt x="344" y="112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36" y="118"/>
                      <a:pt x="328" y="118"/>
                    </a:cubicBezTo>
                    <a:cubicBezTo>
                      <a:pt x="328" y="118"/>
                      <a:pt x="328" y="118"/>
                      <a:pt x="327" y="118"/>
                    </a:cubicBezTo>
                    <a:cubicBezTo>
                      <a:pt x="321" y="118"/>
                      <a:pt x="315" y="115"/>
                      <a:pt x="310" y="109"/>
                    </a:cubicBezTo>
                    <a:cubicBezTo>
                      <a:pt x="295" y="91"/>
                      <a:pt x="311" y="73"/>
                      <a:pt x="311" y="73"/>
                    </a:cubicBezTo>
                    <a:cubicBezTo>
                      <a:pt x="312" y="72"/>
                      <a:pt x="320" y="65"/>
                      <a:pt x="329" y="56"/>
                    </a:cubicBezTo>
                    <a:cubicBezTo>
                      <a:pt x="341" y="44"/>
                      <a:pt x="356" y="29"/>
                      <a:pt x="362" y="24"/>
                    </a:cubicBezTo>
                    <a:cubicBezTo>
                      <a:pt x="366" y="19"/>
                      <a:pt x="366" y="19"/>
                      <a:pt x="366" y="19"/>
                    </a:cubicBezTo>
                    <a:cubicBezTo>
                      <a:pt x="360" y="17"/>
                      <a:pt x="360" y="17"/>
                      <a:pt x="360" y="17"/>
                    </a:cubicBezTo>
                    <a:cubicBezTo>
                      <a:pt x="360" y="17"/>
                      <a:pt x="308" y="0"/>
                      <a:pt x="275" y="37"/>
                    </a:cubicBezTo>
                    <a:cubicBezTo>
                      <a:pt x="243" y="71"/>
                      <a:pt x="254" y="109"/>
                      <a:pt x="258" y="119"/>
                    </a:cubicBezTo>
                    <a:cubicBezTo>
                      <a:pt x="115" y="261"/>
                      <a:pt x="115" y="261"/>
                      <a:pt x="115" y="261"/>
                    </a:cubicBezTo>
                    <a:cubicBezTo>
                      <a:pt x="106" y="257"/>
                      <a:pt x="76" y="249"/>
                      <a:pt x="40" y="273"/>
                    </a:cubicBezTo>
                    <a:cubicBezTo>
                      <a:pt x="0" y="301"/>
                      <a:pt x="12" y="362"/>
                      <a:pt x="12" y="364"/>
                    </a:cubicBezTo>
                    <a:cubicBezTo>
                      <a:pt x="14" y="372"/>
                      <a:pt x="14" y="372"/>
                      <a:pt x="14" y="372"/>
                    </a:cubicBezTo>
                    <a:cubicBezTo>
                      <a:pt x="19" y="366"/>
                      <a:pt x="19" y="366"/>
                      <a:pt x="19" y="366"/>
                    </a:cubicBezTo>
                    <a:cubicBezTo>
                      <a:pt x="20" y="366"/>
                      <a:pt x="68" y="316"/>
                      <a:pt x="71" y="313"/>
                    </a:cubicBezTo>
                    <a:cubicBezTo>
                      <a:pt x="71" y="313"/>
                      <a:pt x="85" y="300"/>
                      <a:pt x="103" y="316"/>
                    </a:cubicBezTo>
                    <a:cubicBezTo>
                      <a:pt x="120" y="329"/>
                      <a:pt x="110" y="348"/>
                      <a:pt x="109" y="350"/>
                    </a:cubicBezTo>
                    <a:cubicBezTo>
                      <a:pt x="105" y="354"/>
                      <a:pt x="72" y="388"/>
                      <a:pt x="59" y="402"/>
                    </a:cubicBezTo>
                    <a:cubicBezTo>
                      <a:pt x="54" y="406"/>
                      <a:pt x="54" y="406"/>
                      <a:pt x="54" y="406"/>
                    </a:cubicBezTo>
                    <a:cubicBezTo>
                      <a:pt x="60" y="408"/>
                      <a:pt x="60" y="408"/>
                      <a:pt x="60" y="408"/>
                    </a:cubicBezTo>
                    <a:cubicBezTo>
                      <a:pt x="60" y="408"/>
                      <a:pt x="72" y="413"/>
                      <a:pt x="88" y="413"/>
                    </a:cubicBezTo>
                    <a:cubicBezTo>
                      <a:pt x="105" y="413"/>
                      <a:pt x="127" y="408"/>
                      <a:pt x="145" y="386"/>
                    </a:cubicBezTo>
                    <a:cubicBezTo>
                      <a:pt x="174" y="352"/>
                      <a:pt x="162" y="317"/>
                      <a:pt x="158" y="307"/>
                    </a:cubicBezTo>
                    <a:cubicBezTo>
                      <a:pt x="301" y="162"/>
                      <a:pt x="301" y="162"/>
                      <a:pt x="301" y="162"/>
                    </a:cubicBezTo>
                    <a:cubicBezTo>
                      <a:pt x="312" y="167"/>
                      <a:pt x="354" y="180"/>
                      <a:pt x="392" y="139"/>
                    </a:cubicBezTo>
                    <a:cubicBezTo>
                      <a:pt x="422" y="101"/>
                      <a:pt x="402" y="63"/>
                      <a:pt x="401" y="63"/>
                    </a:cubicBezTo>
                    <a:close/>
                    <a:moveTo>
                      <a:pt x="386" y="134"/>
                    </a:moveTo>
                    <a:cubicBezTo>
                      <a:pt x="346" y="176"/>
                      <a:pt x="304" y="155"/>
                      <a:pt x="302" y="154"/>
                    </a:cubicBezTo>
                    <a:cubicBezTo>
                      <a:pt x="300" y="153"/>
                      <a:pt x="300" y="153"/>
                      <a:pt x="300" y="153"/>
                    </a:cubicBezTo>
                    <a:cubicBezTo>
                      <a:pt x="148" y="305"/>
                      <a:pt x="148" y="305"/>
                      <a:pt x="148" y="305"/>
                    </a:cubicBezTo>
                    <a:cubicBezTo>
                      <a:pt x="150" y="308"/>
                      <a:pt x="150" y="308"/>
                      <a:pt x="150" y="308"/>
                    </a:cubicBezTo>
                    <a:cubicBezTo>
                      <a:pt x="150" y="308"/>
                      <a:pt x="170" y="345"/>
                      <a:pt x="139" y="381"/>
                    </a:cubicBezTo>
                    <a:cubicBezTo>
                      <a:pt x="114" y="410"/>
                      <a:pt x="82" y="406"/>
                      <a:pt x="69" y="403"/>
                    </a:cubicBezTo>
                    <a:cubicBezTo>
                      <a:pt x="81" y="390"/>
                      <a:pt x="113" y="357"/>
                      <a:pt x="115" y="355"/>
                    </a:cubicBezTo>
                    <a:cubicBezTo>
                      <a:pt x="115" y="355"/>
                      <a:pt x="115" y="355"/>
                      <a:pt x="115" y="355"/>
                    </a:cubicBezTo>
                    <a:cubicBezTo>
                      <a:pt x="119" y="350"/>
                      <a:pt x="129" y="326"/>
                      <a:pt x="108" y="310"/>
                    </a:cubicBezTo>
                    <a:cubicBezTo>
                      <a:pt x="89" y="292"/>
                      <a:pt x="70" y="303"/>
                      <a:pt x="66" y="308"/>
                    </a:cubicBezTo>
                    <a:cubicBezTo>
                      <a:pt x="63" y="310"/>
                      <a:pt x="32" y="342"/>
                      <a:pt x="19" y="355"/>
                    </a:cubicBezTo>
                    <a:cubicBezTo>
                      <a:pt x="17" y="338"/>
                      <a:pt x="17" y="299"/>
                      <a:pt x="45" y="280"/>
                    </a:cubicBezTo>
                    <a:cubicBezTo>
                      <a:pt x="83" y="254"/>
                      <a:pt x="112" y="269"/>
                      <a:pt x="114" y="269"/>
                    </a:cubicBezTo>
                    <a:cubicBezTo>
                      <a:pt x="116" y="271"/>
                      <a:pt x="116" y="271"/>
                      <a:pt x="116" y="271"/>
                    </a:cubicBezTo>
                    <a:cubicBezTo>
                      <a:pt x="265" y="123"/>
                      <a:pt x="265" y="123"/>
                      <a:pt x="265" y="123"/>
                    </a:cubicBezTo>
                    <a:cubicBezTo>
                      <a:pt x="267" y="121"/>
                      <a:pt x="267" y="121"/>
                      <a:pt x="267" y="121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5" y="116"/>
                      <a:pt x="248" y="78"/>
                      <a:pt x="281" y="43"/>
                    </a:cubicBezTo>
                    <a:cubicBezTo>
                      <a:pt x="304" y="16"/>
                      <a:pt x="337" y="20"/>
                      <a:pt x="351" y="23"/>
                    </a:cubicBezTo>
                    <a:cubicBezTo>
                      <a:pt x="344" y="30"/>
                      <a:pt x="333" y="41"/>
                      <a:pt x="323" y="50"/>
                    </a:cubicBezTo>
                    <a:cubicBezTo>
                      <a:pt x="312" y="61"/>
                      <a:pt x="306" y="67"/>
                      <a:pt x="305" y="68"/>
                    </a:cubicBezTo>
                    <a:cubicBezTo>
                      <a:pt x="299" y="74"/>
                      <a:pt x="287" y="95"/>
                      <a:pt x="304" y="114"/>
                    </a:cubicBezTo>
                    <a:cubicBezTo>
                      <a:pt x="311" y="122"/>
                      <a:pt x="319" y="126"/>
                      <a:pt x="328" y="126"/>
                    </a:cubicBezTo>
                    <a:cubicBezTo>
                      <a:pt x="328" y="126"/>
                      <a:pt x="328" y="126"/>
                      <a:pt x="328" y="126"/>
                    </a:cubicBezTo>
                    <a:cubicBezTo>
                      <a:pt x="338" y="126"/>
                      <a:pt x="346" y="121"/>
                      <a:pt x="349" y="118"/>
                    </a:cubicBezTo>
                    <a:cubicBezTo>
                      <a:pt x="353" y="115"/>
                      <a:pt x="384" y="84"/>
                      <a:pt x="396" y="72"/>
                    </a:cubicBezTo>
                    <a:cubicBezTo>
                      <a:pt x="400" y="82"/>
                      <a:pt x="406" y="108"/>
                      <a:pt x="386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89"/>
              <p:cNvSpPr>
                <a:spLocks/>
              </p:cNvSpPr>
              <p:nvPr/>
            </p:nvSpPr>
            <p:spPr bwMode="auto">
              <a:xfrm>
                <a:off x="7040563" y="3252788"/>
                <a:ext cx="395288" cy="482600"/>
              </a:xfrm>
              <a:custGeom>
                <a:avLst/>
                <a:gdLst>
                  <a:gd name="T0" fmla="*/ 161 w 174"/>
                  <a:gd name="T1" fmla="*/ 2 h 213"/>
                  <a:gd name="T2" fmla="*/ 162 w 174"/>
                  <a:gd name="T3" fmla="*/ 23 h 213"/>
                  <a:gd name="T4" fmla="*/ 161 w 174"/>
                  <a:gd name="T5" fmla="*/ 38 h 213"/>
                  <a:gd name="T6" fmla="*/ 132 w 174"/>
                  <a:gd name="T7" fmla="*/ 109 h 213"/>
                  <a:gd name="T8" fmla="*/ 23 w 174"/>
                  <a:gd name="T9" fmla="*/ 164 h 213"/>
                  <a:gd name="T10" fmla="*/ 53 w 174"/>
                  <a:gd name="T11" fmla="*/ 135 h 213"/>
                  <a:gd name="T12" fmla="*/ 44 w 174"/>
                  <a:gd name="T13" fmla="*/ 126 h 213"/>
                  <a:gd name="T14" fmla="*/ 0 w 174"/>
                  <a:gd name="T15" fmla="*/ 170 h 213"/>
                  <a:gd name="T16" fmla="*/ 44 w 174"/>
                  <a:gd name="T17" fmla="*/ 213 h 213"/>
                  <a:gd name="T18" fmla="*/ 52 w 174"/>
                  <a:gd name="T19" fmla="*/ 205 h 213"/>
                  <a:gd name="T20" fmla="*/ 23 w 174"/>
                  <a:gd name="T21" fmla="*/ 176 h 213"/>
                  <a:gd name="T22" fmla="*/ 142 w 174"/>
                  <a:gd name="T23" fmla="*/ 117 h 213"/>
                  <a:gd name="T24" fmla="*/ 173 w 174"/>
                  <a:gd name="T25" fmla="*/ 39 h 213"/>
                  <a:gd name="T26" fmla="*/ 174 w 174"/>
                  <a:gd name="T27" fmla="*/ 23 h 213"/>
                  <a:gd name="T28" fmla="*/ 173 w 174"/>
                  <a:gd name="T29" fmla="*/ 0 h 213"/>
                  <a:gd name="T30" fmla="*/ 161 w 174"/>
                  <a:gd name="T31" fmla="*/ 2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213">
                    <a:moveTo>
                      <a:pt x="161" y="2"/>
                    </a:moveTo>
                    <a:cubicBezTo>
                      <a:pt x="162" y="9"/>
                      <a:pt x="162" y="16"/>
                      <a:pt x="162" y="23"/>
                    </a:cubicBezTo>
                    <a:cubicBezTo>
                      <a:pt x="162" y="27"/>
                      <a:pt x="162" y="33"/>
                      <a:pt x="161" y="38"/>
                    </a:cubicBezTo>
                    <a:cubicBezTo>
                      <a:pt x="159" y="64"/>
                      <a:pt x="149" y="88"/>
                      <a:pt x="132" y="109"/>
                    </a:cubicBezTo>
                    <a:cubicBezTo>
                      <a:pt x="106" y="144"/>
                      <a:pt x="66" y="163"/>
                      <a:pt x="23" y="164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44" y="126"/>
                      <a:pt x="44" y="126"/>
                      <a:pt x="44" y="12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4" y="213"/>
                      <a:pt x="44" y="213"/>
                      <a:pt x="44" y="213"/>
                    </a:cubicBezTo>
                    <a:cubicBezTo>
                      <a:pt x="52" y="205"/>
                      <a:pt x="52" y="205"/>
                      <a:pt x="52" y="205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70" y="175"/>
                      <a:pt x="113" y="154"/>
                      <a:pt x="142" y="117"/>
                    </a:cubicBezTo>
                    <a:cubicBezTo>
                      <a:pt x="160" y="94"/>
                      <a:pt x="170" y="67"/>
                      <a:pt x="173" y="39"/>
                    </a:cubicBezTo>
                    <a:cubicBezTo>
                      <a:pt x="174" y="33"/>
                      <a:pt x="174" y="28"/>
                      <a:pt x="174" y="23"/>
                    </a:cubicBezTo>
                    <a:cubicBezTo>
                      <a:pt x="174" y="15"/>
                      <a:pt x="174" y="8"/>
                      <a:pt x="173" y="0"/>
                    </a:cubicBezTo>
                    <a:lnTo>
                      <a:pt x="16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0"/>
              <p:cNvSpPr>
                <a:spLocks/>
              </p:cNvSpPr>
              <p:nvPr/>
            </p:nvSpPr>
            <p:spPr bwMode="auto">
              <a:xfrm>
                <a:off x="6738938" y="2873375"/>
                <a:ext cx="401638" cy="477837"/>
              </a:xfrm>
              <a:custGeom>
                <a:avLst/>
                <a:gdLst>
                  <a:gd name="T0" fmla="*/ 14 w 177"/>
                  <a:gd name="T1" fmla="*/ 210 h 211"/>
                  <a:gd name="T2" fmla="*/ 12 w 177"/>
                  <a:gd name="T3" fmla="*/ 191 h 211"/>
                  <a:gd name="T4" fmla="*/ 154 w 177"/>
                  <a:gd name="T5" fmla="*/ 49 h 211"/>
                  <a:gd name="T6" fmla="*/ 154 w 177"/>
                  <a:gd name="T7" fmla="*/ 49 h 211"/>
                  <a:gd name="T8" fmla="*/ 125 w 177"/>
                  <a:gd name="T9" fmla="*/ 79 h 211"/>
                  <a:gd name="T10" fmla="*/ 133 w 177"/>
                  <a:gd name="T11" fmla="*/ 87 h 211"/>
                  <a:gd name="T12" fmla="*/ 177 w 177"/>
                  <a:gd name="T13" fmla="*/ 43 h 211"/>
                  <a:gd name="T14" fmla="*/ 134 w 177"/>
                  <a:gd name="T15" fmla="*/ 0 h 211"/>
                  <a:gd name="T16" fmla="*/ 125 w 177"/>
                  <a:gd name="T17" fmla="*/ 8 h 211"/>
                  <a:gd name="T18" fmla="*/ 154 w 177"/>
                  <a:gd name="T19" fmla="*/ 37 h 211"/>
                  <a:gd name="T20" fmla="*/ 154 w 177"/>
                  <a:gd name="T21" fmla="*/ 37 h 211"/>
                  <a:gd name="T22" fmla="*/ 0 w 177"/>
                  <a:gd name="T23" fmla="*/ 191 h 211"/>
                  <a:gd name="T24" fmla="*/ 2 w 177"/>
                  <a:gd name="T25" fmla="*/ 211 h 211"/>
                  <a:gd name="T26" fmla="*/ 14 w 177"/>
                  <a:gd name="T27" fmla="*/ 21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7" h="211">
                    <a:moveTo>
                      <a:pt x="14" y="210"/>
                    </a:moveTo>
                    <a:cubicBezTo>
                      <a:pt x="13" y="203"/>
                      <a:pt x="12" y="197"/>
                      <a:pt x="12" y="191"/>
                    </a:cubicBezTo>
                    <a:cubicBezTo>
                      <a:pt x="12" y="113"/>
                      <a:pt x="76" y="49"/>
                      <a:pt x="154" y="49"/>
                    </a:cubicBezTo>
                    <a:cubicBezTo>
                      <a:pt x="154" y="49"/>
                      <a:pt x="154" y="49"/>
                      <a:pt x="154" y="49"/>
                    </a:cubicBezTo>
                    <a:cubicBezTo>
                      <a:pt x="125" y="79"/>
                      <a:pt x="125" y="79"/>
                      <a:pt x="125" y="79"/>
                    </a:cubicBezTo>
                    <a:cubicBezTo>
                      <a:pt x="133" y="87"/>
                      <a:pt x="133" y="87"/>
                      <a:pt x="133" y="87"/>
                    </a:cubicBezTo>
                    <a:cubicBezTo>
                      <a:pt x="177" y="43"/>
                      <a:pt x="177" y="43"/>
                      <a:pt x="177" y="43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154" y="37"/>
                      <a:pt x="154" y="37"/>
                      <a:pt x="154" y="37"/>
                    </a:cubicBezTo>
                    <a:cubicBezTo>
                      <a:pt x="69" y="37"/>
                      <a:pt x="0" y="106"/>
                      <a:pt x="0" y="191"/>
                    </a:cubicBezTo>
                    <a:cubicBezTo>
                      <a:pt x="0" y="198"/>
                      <a:pt x="1" y="205"/>
                      <a:pt x="2" y="211"/>
                    </a:cubicBezTo>
                    <a:lnTo>
                      <a:pt x="14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1" name="TextBox 370"/>
            <p:cNvSpPr txBox="1"/>
            <p:nvPr/>
          </p:nvSpPr>
          <p:spPr>
            <a:xfrm>
              <a:off x="1855457" y="3992965"/>
              <a:ext cx="27090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dirty="0">
                  <a:latin typeface="+mj-lt"/>
                </a:rPr>
                <a:t>Remote</a:t>
              </a:r>
              <a:br>
                <a:rPr lang="en-US" sz="600" dirty="0">
                  <a:latin typeface="+mj-lt"/>
                </a:rPr>
              </a:br>
              <a:r>
                <a:rPr lang="en-US" sz="600" dirty="0">
                  <a:latin typeface="+mj-lt"/>
                </a:rPr>
                <a:t>Config.</a:t>
              </a:r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3824111" y="2815991"/>
            <a:ext cx="512615" cy="512615"/>
            <a:chOff x="1358730" y="2879714"/>
            <a:chExt cx="502920" cy="502920"/>
          </a:xfrm>
        </p:grpSpPr>
        <p:sp>
          <p:nvSpPr>
            <p:cNvPr id="115" name="Oval 114"/>
            <p:cNvSpPr/>
            <p:nvPr/>
          </p:nvSpPr>
          <p:spPr>
            <a:xfrm>
              <a:off x="1358730" y="2879714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57" name="Group 156"/>
            <p:cNvGrpSpPr/>
            <p:nvPr/>
          </p:nvGrpSpPr>
          <p:grpSpPr>
            <a:xfrm>
              <a:off x="1527031" y="2989974"/>
              <a:ext cx="166318" cy="121114"/>
              <a:chOff x="6940550" y="8050213"/>
              <a:chExt cx="619125" cy="450850"/>
            </a:xfrm>
            <a:solidFill>
              <a:schemeClr val="tx2"/>
            </a:solidFill>
          </p:grpSpPr>
          <p:sp>
            <p:nvSpPr>
              <p:cNvPr id="158" name="Freeform 130"/>
              <p:cNvSpPr>
                <a:spLocks noEditPoints="1"/>
              </p:cNvSpPr>
              <p:nvPr/>
            </p:nvSpPr>
            <p:spPr bwMode="auto">
              <a:xfrm>
                <a:off x="6940550" y="8050213"/>
                <a:ext cx="619125" cy="450850"/>
              </a:xfrm>
              <a:custGeom>
                <a:avLst/>
                <a:gdLst>
                  <a:gd name="T0" fmla="*/ 1411 w 1435"/>
                  <a:gd name="T1" fmla="*/ 0 h 1046"/>
                  <a:gd name="T2" fmla="*/ 24 w 1435"/>
                  <a:gd name="T3" fmla="*/ 0 h 1046"/>
                  <a:gd name="T4" fmla="*/ 0 w 1435"/>
                  <a:gd name="T5" fmla="*/ 24 h 1046"/>
                  <a:gd name="T6" fmla="*/ 0 w 1435"/>
                  <a:gd name="T7" fmla="*/ 1022 h 1046"/>
                  <a:gd name="T8" fmla="*/ 24 w 1435"/>
                  <a:gd name="T9" fmla="*/ 1046 h 1046"/>
                  <a:gd name="T10" fmla="*/ 1411 w 1435"/>
                  <a:gd name="T11" fmla="*/ 1046 h 1046"/>
                  <a:gd name="T12" fmla="*/ 1435 w 1435"/>
                  <a:gd name="T13" fmla="*/ 1022 h 1046"/>
                  <a:gd name="T14" fmla="*/ 1435 w 1435"/>
                  <a:gd name="T15" fmla="*/ 24 h 1046"/>
                  <a:gd name="T16" fmla="*/ 1411 w 1435"/>
                  <a:gd name="T17" fmla="*/ 0 h 1046"/>
                  <a:gd name="T18" fmla="*/ 1387 w 1435"/>
                  <a:gd name="T19" fmla="*/ 48 h 1046"/>
                  <a:gd name="T20" fmla="*/ 1387 w 1435"/>
                  <a:gd name="T21" fmla="*/ 150 h 1046"/>
                  <a:gd name="T22" fmla="*/ 48 w 1435"/>
                  <a:gd name="T23" fmla="*/ 150 h 1046"/>
                  <a:gd name="T24" fmla="*/ 48 w 1435"/>
                  <a:gd name="T25" fmla="*/ 48 h 1046"/>
                  <a:gd name="T26" fmla="*/ 1387 w 1435"/>
                  <a:gd name="T27" fmla="*/ 48 h 1046"/>
                  <a:gd name="T28" fmla="*/ 48 w 1435"/>
                  <a:gd name="T29" fmla="*/ 998 h 1046"/>
                  <a:gd name="T30" fmla="*/ 48 w 1435"/>
                  <a:gd name="T31" fmla="*/ 198 h 1046"/>
                  <a:gd name="T32" fmla="*/ 1387 w 1435"/>
                  <a:gd name="T33" fmla="*/ 198 h 1046"/>
                  <a:gd name="T34" fmla="*/ 1387 w 1435"/>
                  <a:gd name="T35" fmla="*/ 998 h 1046"/>
                  <a:gd name="T36" fmla="*/ 48 w 1435"/>
                  <a:gd name="T37" fmla="*/ 998 h 1046"/>
                  <a:gd name="T38" fmla="*/ 48 w 1435"/>
                  <a:gd name="T39" fmla="*/ 998 h 1046"/>
                  <a:gd name="T40" fmla="*/ 48 w 1435"/>
                  <a:gd name="T41" fmla="*/ 998 h 10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35" h="1046">
                    <a:moveTo>
                      <a:pt x="1411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1022"/>
                      <a:pt x="0" y="1022"/>
                      <a:pt x="0" y="1022"/>
                    </a:cubicBezTo>
                    <a:cubicBezTo>
                      <a:pt x="0" y="1036"/>
                      <a:pt x="11" y="1046"/>
                      <a:pt x="24" y="1046"/>
                    </a:cubicBezTo>
                    <a:cubicBezTo>
                      <a:pt x="1411" y="1046"/>
                      <a:pt x="1411" y="1046"/>
                      <a:pt x="1411" y="1046"/>
                    </a:cubicBezTo>
                    <a:cubicBezTo>
                      <a:pt x="1424" y="1046"/>
                      <a:pt x="1435" y="1036"/>
                      <a:pt x="1435" y="1022"/>
                    </a:cubicBezTo>
                    <a:cubicBezTo>
                      <a:pt x="1435" y="24"/>
                      <a:pt x="1435" y="24"/>
                      <a:pt x="1435" y="24"/>
                    </a:cubicBezTo>
                    <a:cubicBezTo>
                      <a:pt x="1435" y="11"/>
                      <a:pt x="1424" y="0"/>
                      <a:pt x="1411" y="0"/>
                    </a:cubicBezTo>
                    <a:close/>
                    <a:moveTo>
                      <a:pt x="1387" y="48"/>
                    </a:moveTo>
                    <a:cubicBezTo>
                      <a:pt x="1387" y="150"/>
                      <a:pt x="1387" y="150"/>
                      <a:pt x="1387" y="150"/>
                    </a:cubicBezTo>
                    <a:cubicBezTo>
                      <a:pt x="48" y="150"/>
                      <a:pt x="48" y="150"/>
                      <a:pt x="48" y="150"/>
                    </a:cubicBezTo>
                    <a:cubicBezTo>
                      <a:pt x="48" y="48"/>
                      <a:pt x="48" y="48"/>
                      <a:pt x="48" y="48"/>
                    </a:cubicBezTo>
                    <a:lnTo>
                      <a:pt x="1387" y="48"/>
                    </a:lnTo>
                    <a:close/>
                    <a:moveTo>
                      <a:pt x="48" y="998"/>
                    </a:moveTo>
                    <a:cubicBezTo>
                      <a:pt x="48" y="198"/>
                      <a:pt x="48" y="198"/>
                      <a:pt x="48" y="198"/>
                    </a:cubicBezTo>
                    <a:cubicBezTo>
                      <a:pt x="1387" y="198"/>
                      <a:pt x="1387" y="198"/>
                      <a:pt x="1387" y="198"/>
                    </a:cubicBezTo>
                    <a:cubicBezTo>
                      <a:pt x="1387" y="998"/>
                      <a:pt x="1387" y="998"/>
                      <a:pt x="1387" y="998"/>
                    </a:cubicBezTo>
                    <a:lnTo>
                      <a:pt x="48" y="998"/>
                    </a:lnTo>
                    <a:close/>
                    <a:moveTo>
                      <a:pt x="48" y="998"/>
                    </a:moveTo>
                    <a:cubicBezTo>
                      <a:pt x="48" y="998"/>
                      <a:pt x="48" y="998"/>
                      <a:pt x="48" y="9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31"/>
              <p:cNvSpPr>
                <a:spLocks noEditPoints="1"/>
              </p:cNvSpPr>
              <p:nvPr/>
            </p:nvSpPr>
            <p:spPr bwMode="auto">
              <a:xfrm>
                <a:off x="698500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32"/>
              <p:cNvSpPr>
                <a:spLocks noEditPoints="1"/>
              </p:cNvSpPr>
              <p:nvPr/>
            </p:nvSpPr>
            <p:spPr bwMode="auto">
              <a:xfrm>
                <a:off x="7019925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7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7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33"/>
              <p:cNvSpPr>
                <a:spLocks noEditPoints="1"/>
              </p:cNvSpPr>
              <p:nvPr/>
            </p:nvSpPr>
            <p:spPr bwMode="auto">
              <a:xfrm>
                <a:off x="7054850" y="8083551"/>
                <a:ext cx="20638" cy="20638"/>
              </a:xfrm>
              <a:custGeom>
                <a:avLst/>
                <a:gdLst>
                  <a:gd name="T0" fmla="*/ 24 w 48"/>
                  <a:gd name="T1" fmla="*/ 48 h 48"/>
                  <a:gd name="T2" fmla="*/ 41 w 48"/>
                  <a:gd name="T3" fmla="*/ 41 h 48"/>
                  <a:gd name="T4" fmla="*/ 48 w 48"/>
                  <a:gd name="T5" fmla="*/ 24 h 48"/>
                  <a:gd name="T6" fmla="*/ 41 w 48"/>
                  <a:gd name="T7" fmla="*/ 7 h 48"/>
                  <a:gd name="T8" fmla="*/ 24 w 48"/>
                  <a:gd name="T9" fmla="*/ 0 h 48"/>
                  <a:gd name="T10" fmla="*/ 7 w 48"/>
                  <a:gd name="T11" fmla="*/ 7 h 48"/>
                  <a:gd name="T12" fmla="*/ 0 w 48"/>
                  <a:gd name="T13" fmla="*/ 24 h 48"/>
                  <a:gd name="T14" fmla="*/ 7 w 48"/>
                  <a:gd name="T15" fmla="*/ 41 h 48"/>
                  <a:gd name="T16" fmla="*/ 24 w 48"/>
                  <a:gd name="T17" fmla="*/ 48 h 48"/>
                  <a:gd name="T18" fmla="*/ 24 w 48"/>
                  <a:gd name="T19" fmla="*/ 48 h 48"/>
                  <a:gd name="T20" fmla="*/ 24 w 48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30" y="48"/>
                      <a:pt x="36" y="46"/>
                      <a:pt x="41" y="41"/>
                    </a:cubicBezTo>
                    <a:cubicBezTo>
                      <a:pt x="45" y="37"/>
                      <a:pt x="48" y="31"/>
                      <a:pt x="48" y="24"/>
                    </a:cubicBezTo>
                    <a:cubicBezTo>
                      <a:pt x="48" y="18"/>
                      <a:pt x="45" y="12"/>
                      <a:pt x="41" y="7"/>
                    </a:cubicBezTo>
                    <a:cubicBezTo>
                      <a:pt x="36" y="3"/>
                      <a:pt x="30" y="0"/>
                      <a:pt x="24" y="0"/>
                    </a:cubicBezTo>
                    <a:cubicBezTo>
                      <a:pt x="18" y="0"/>
                      <a:pt x="11" y="3"/>
                      <a:pt x="7" y="7"/>
                    </a:cubicBezTo>
                    <a:cubicBezTo>
                      <a:pt x="2" y="12"/>
                      <a:pt x="0" y="18"/>
                      <a:pt x="0" y="24"/>
                    </a:cubicBezTo>
                    <a:cubicBezTo>
                      <a:pt x="0" y="31"/>
                      <a:pt x="2" y="37"/>
                      <a:pt x="7" y="41"/>
                    </a:cubicBezTo>
                    <a:cubicBezTo>
                      <a:pt x="11" y="46"/>
                      <a:pt x="18" y="48"/>
                      <a:pt x="24" y="48"/>
                    </a:cubicBezTo>
                    <a:close/>
                    <a:moveTo>
                      <a:pt x="24" y="48"/>
                    </a:moveTo>
                    <a:cubicBezTo>
                      <a:pt x="24" y="48"/>
                      <a:pt x="24" y="48"/>
                      <a:pt x="2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34"/>
              <p:cNvSpPr>
                <a:spLocks noEditPoints="1"/>
              </p:cNvSpPr>
              <p:nvPr/>
            </p:nvSpPr>
            <p:spPr bwMode="auto">
              <a:xfrm>
                <a:off x="7169150" y="8166101"/>
                <a:ext cx="161925" cy="274638"/>
              </a:xfrm>
              <a:custGeom>
                <a:avLst/>
                <a:gdLst>
                  <a:gd name="T0" fmla="*/ 355 w 379"/>
                  <a:gd name="T1" fmla="*/ 262 h 640"/>
                  <a:gd name="T2" fmla="*/ 325 w 379"/>
                  <a:gd name="T3" fmla="*/ 262 h 640"/>
                  <a:gd name="T4" fmla="*/ 325 w 379"/>
                  <a:gd name="T5" fmla="*/ 135 h 640"/>
                  <a:gd name="T6" fmla="*/ 190 w 379"/>
                  <a:gd name="T7" fmla="*/ 0 h 640"/>
                  <a:gd name="T8" fmla="*/ 55 w 379"/>
                  <a:gd name="T9" fmla="*/ 135 h 640"/>
                  <a:gd name="T10" fmla="*/ 55 w 379"/>
                  <a:gd name="T11" fmla="*/ 196 h 640"/>
                  <a:gd name="T12" fmla="*/ 79 w 379"/>
                  <a:gd name="T13" fmla="*/ 220 h 640"/>
                  <a:gd name="T14" fmla="*/ 103 w 379"/>
                  <a:gd name="T15" fmla="*/ 196 h 640"/>
                  <a:gd name="T16" fmla="*/ 103 w 379"/>
                  <a:gd name="T17" fmla="*/ 135 h 640"/>
                  <a:gd name="T18" fmla="*/ 190 w 379"/>
                  <a:gd name="T19" fmla="*/ 48 h 640"/>
                  <a:gd name="T20" fmla="*/ 277 w 379"/>
                  <a:gd name="T21" fmla="*/ 135 h 640"/>
                  <a:gd name="T22" fmla="*/ 277 w 379"/>
                  <a:gd name="T23" fmla="*/ 262 h 640"/>
                  <a:gd name="T24" fmla="*/ 24 w 379"/>
                  <a:gd name="T25" fmla="*/ 262 h 640"/>
                  <a:gd name="T26" fmla="*/ 0 w 379"/>
                  <a:gd name="T27" fmla="*/ 286 h 640"/>
                  <a:gd name="T28" fmla="*/ 0 w 379"/>
                  <a:gd name="T29" fmla="*/ 616 h 640"/>
                  <a:gd name="T30" fmla="*/ 24 w 379"/>
                  <a:gd name="T31" fmla="*/ 640 h 640"/>
                  <a:gd name="T32" fmla="*/ 355 w 379"/>
                  <a:gd name="T33" fmla="*/ 640 h 640"/>
                  <a:gd name="T34" fmla="*/ 379 w 379"/>
                  <a:gd name="T35" fmla="*/ 616 h 640"/>
                  <a:gd name="T36" fmla="*/ 379 w 379"/>
                  <a:gd name="T37" fmla="*/ 286 h 640"/>
                  <a:gd name="T38" fmla="*/ 355 w 379"/>
                  <a:gd name="T39" fmla="*/ 262 h 640"/>
                  <a:gd name="T40" fmla="*/ 331 w 379"/>
                  <a:gd name="T41" fmla="*/ 592 h 640"/>
                  <a:gd name="T42" fmla="*/ 48 w 379"/>
                  <a:gd name="T43" fmla="*/ 592 h 640"/>
                  <a:gd name="T44" fmla="*/ 48 w 379"/>
                  <a:gd name="T45" fmla="*/ 310 h 640"/>
                  <a:gd name="T46" fmla="*/ 331 w 379"/>
                  <a:gd name="T47" fmla="*/ 310 h 640"/>
                  <a:gd name="T48" fmla="*/ 331 w 379"/>
                  <a:gd name="T49" fmla="*/ 592 h 640"/>
                  <a:gd name="T50" fmla="*/ 331 w 379"/>
                  <a:gd name="T51" fmla="*/ 592 h 640"/>
                  <a:gd name="T52" fmla="*/ 331 w 379"/>
                  <a:gd name="T53" fmla="*/ 592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79" h="640">
                    <a:moveTo>
                      <a:pt x="355" y="262"/>
                    </a:moveTo>
                    <a:cubicBezTo>
                      <a:pt x="325" y="262"/>
                      <a:pt x="325" y="262"/>
                      <a:pt x="325" y="262"/>
                    </a:cubicBezTo>
                    <a:cubicBezTo>
                      <a:pt x="325" y="135"/>
                      <a:pt x="325" y="135"/>
                      <a:pt x="325" y="135"/>
                    </a:cubicBezTo>
                    <a:cubicBezTo>
                      <a:pt x="325" y="60"/>
                      <a:pt x="264" y="0"/>
                      <a:pt x="190" y="0"/>
                    </a:cubicBezTo>
                    <a:cubicBezTo>
                      <a:pt x="115" y="0"/>
                      <a:pt x="55" y="60"/>
                      <a:pt x="55" y="135"/>
                    </a:cubicBezTo>
                    <a:cubicBezTo>
                      <a:pt x="55" y="196"/>
                      <a:pt x="55" y="196"/>
                      <a:pt x="55" y="196"/>
                    </a:cubicBezTo>
                    <a:cubicBezTo>
                      <a:pt x="55" y="210"/>
                      <a:pt x="65" y="220"/>
                      <a:pt x="79" y="220"/>
                    </a:cubicBezTo>
                    <a:cubicBezTo>
                      <a:pt x="92" y="220"/>
                      <a:pt x="103" y="210"/>
                      <a:pt x="103" y="196"/>
                    </a:cubicBezTo>
                    <a:cubicBezTo>
                      <a:pt x="103" y="135"/>
                      <a:pt x="103" y="135"/>
                      <a:pt x="103" y="135"/>
                    </a:cubicBezTo>
                    <a:cubicBezTo>
                      <a:pt x="103" y="87"/>
                      <a:pt x="142" y="48"/>
                      <a:pt x="190" y="48"/>
                    </a:cubicBezTo>
                    <a:cubicBezTo>
                      <a:pt x="238" y="48"/>
                      <a:pt x="277" y="87"/>
                      <a:pt x="277" y="135"/>
                    </a:cubicBezTo>
                    <a:cubicBezTo>
                      <a:pt x="277" y="262"/>
                      <a:pt x="277" y="262"/>
                      <a:pt x="277" y="262"/>
                    </a:cubicBezTo>
                    <a:cubicBezTo>
                      <a:pt x="24" y="262"/>
                      <a:pt x="24" y="262"/>
                      <a:pt x="24" y="262"/>
                    </a:cubicBezTo>
                    <a:cubicBezTo>
                      <a:pt x="11" y="262"/>
                      <a:pt x="0" y="272"/>
                      <a:pt x="0" y="286"/>
                    </a:cubicBezTo>
                    <a:cubicBezTo>
                      <a:pt x="0" y="616"/>
                      <a:pt x="0" y="616"/>
                      <a:pt x="0" y="616"/>
                    </a:cubicBezTo>
                    <a:cubicBezTo>
                      <a:pt x="0" y="629"/>
                      <a:pt x="11" y="640"/>
                      <a:pt x="24" y="640"/>
                    </a:cubicBezTo>
                    <a:cubicBezTo>
                      <a:pt x="355" y="640"/>
                      <a:pt x="355" y="640"/>
                      <a:pt x="355" y="640"/>
                    </a:cubicBezTo>
                    <a:cubicBezTo>
                      <a:pt x="368" y="640"/>
                      <a:pt x="379" y="629"/>
                      <a:pt x="379" y="616"/>
                    </a:cubicBezTo>
                    <a:cubicBezTo>
                      <a:pt x="379" y="286"/>
                      <a:pt x="379" y="286"/>
                      <a:pt x="379" y="286"/>
                    </a:cubicBezTo>
                    <a:cubicBezTo>
                      <a:pt x="379" y="272"/>
                      <a:pt x="368" y="262"/>
                      <a:pt x="355" y="262"/>
                    </a:cubicBezTo>
                    <a:close/>
                    <a:moveTo>
                      <a:pt x="331" y="592"/>
                    </a:moveTo>
                    <a:cubicBezTo>
                      <a:pt x="48" y="592"/>
                      <a:pt x="48" y="592"/>
                      <a:pt x="48" y="592"/>
                    </a:cubicBezTo>
                    <a:cubicBezTo>
                      <a:pt x="48" y="310"/>
                      <a:pt x="48" y="310"/>
                      <a:pt x="48" y="310"/>
                    </a:cubicBezTo>
                    <a:cubicBezTo>
                      <a:pt x="331" y="310"/>
                      <a:pt x="331" y="310"/>
                      <a:pt x="331" y="310"/>
                    </a:cubicBezTo>
                    <a:lnTo>
                      <a:pt x="331" y="592"/>
                    </a:lnTo>
                    <a:close/>
                    <a:moveTo>
                      <a:pt x="331" y="592"/>
                    </a:moveTo>
                    <a:cubicBezTo>
                      <a:pt x="331" y="592"/>
                      <a:pt x="331" y="592"/>
                      <a:pt x="331" y="5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2" name="TextBox 371"/>
            <p:cNvSpPr txBox="1"/>
            <p:nvPr/>
          </p:nvSpPr>
          <p:spPr>
            <a:xfrm>
              <a:off x="1380159" y="3132329"/>
              <a:ext cx="46006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 sz="1200">
                  <a:solidFill>
                    <a:schemeClr val="tx2"/>
                  </a:solidFill>
                  <a:latin typeface="+mn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sz="600" spc="-50" dirty="0">
                  <a:latin typeface="+mj-lt"/>
                </a:rPr>
                <a:t>Secure Browser</a:t>
              </a:r>
              <a:br>
                <a:rPr lang="en-US" sz="600" spc="-50" dirty="0">
                  <a:latin typeface="+mj-lt"/>
                </a:rPr>
              </a:br>
              <a:r>
                <a:rPr lang="en-US" sz="600" spc="-50" dirty="0">
                  <a:latin typeface="+mj-lt"/>
                </a:rPr>
                <a:t>Container</a:t>
              </a:r>
            </a:p>
          </p:txBody>
        </p:sp>
      </p:grpSp>
      <p:grpSp>
        <p:nvGrpSpPr>
          <p:cNvPr id="168" name="Group 167"/>
          <p:cNvGrpSpPr/>
          <p:nvPr/>
        </p:nvGrpSpPr>
        <p:grpSpPr>
          <a:xfrm>
            <a:off x="4796890" y="1004403"/>
            <a:ext cx="512615" cy="512615"/>
            <a:chOff x="2175593" y="1251859"/>
            <a:chExt cx="502920" cy="502920"/>
          </a:xfrm>
        </p:grpSpPr>
        <p:sp>
          <p:nvSpPr>
            <p:cNvPr id="113" name="Oval 112"/>
            <p:cNvSpPr/>
            <p:nvPr/>
          </p:nvSpPr>
          <p:spPr>
            <a:xfrm>
              <a:off x="2175593" y="1251859"/>
              <a:ext cx="502920" cy="502920"/>
            </a:xfrm>
            <a:prstGeom prst="ellipse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b="1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167" name="Group 166"/>
            <p:cNvGrpSpPr/>
            <p:nvPr/>
          </p:nvGrpSpPr>
          <p:grpSpPr>
            <a:xfrm>
              <a:off x="2277974" y="1353847"/>
              <a:ext cx="298159" cy="314576"/>
              <a:chOff x="2277974" y="1353847"/>
              <a:chExt cx="298159" cy="314576"/>
            </a:xfrm>
          </p:grpSpPr>
          <p:grpSp>
            <p:nvGrpSpPr>
              <p:cNvPr id="124" name="Group 64"/>
              <p:cNvGrpSpPr>
                <a:grpSpLocks noChangeAspect="1"/>
              </p:cNvGrpSpPr>
              <p:nvPr/>
            </p:nvGrpSpPr>
            <p:grpSpPr bwMode="auto">
              <a:xfrm>
                <a:off x="2327681" y="1353847"/>
                <a:ext cx="198745" cy="109194"/>
                <a:chOff x="796" y="938"/>
                <a:chExt cx="688" cy="378"/>
              </a:xfrm>
              <a:solidFill>
                <a:schemeClr val="tx2"/>
              </a:solidFill>
            </p:grpSpPr>
            <p:sp>
              <p:nvSpPr>
                <p:cNvPr id="125" name="Freeform 65"/>
                <p:cNvSpPr>
                  <a:spLocks/>
                </p:cNvSpPr>
                <p:nvPr/>
              </p:nvSpPr>
              <p:spPr bwMode="auto">
                <a:xfrm>
                  <a:off x="796" y="943"/>
                  <a:ext cx="373" cy="373"/>
                </a:xfrm>
                <a:custGeom>
                  <a:avLst/>
                  <a:gdLst>
                    <a:gd name="T0" fmla="*/ 330 w 373"/>
                    <a:gd name="T1" fmla="*/ 329 h 373"/>
                    <a:gd name="T2" fmla="*/ 43 w 373"/>
                    <a:gd name="T3" fmla="*/ 329 h 373"/>
                    <a:gd name="T4" fmla="*/ 43 w 373"/>
                    <a:gd name="T5" fmla="*/ 41 h 373"/>
                    <a:gd name="T6" fmla="*/ 330 w 373"/>
                    <a:gd name="T7" fmla="*/ 41 h 373"/>
                    <a:gd name="T8" fmla="*/ 330 w 373"/>
                    <a:gd name="T9" fmla="*/ 99 h 373"/>
                    <a:gd name="T10" fmla="*/ 373 w 373"/>
                    <a:gd name="T11" fmla="*/ 99 h 373"/>
                    <a:gd name="T12" fmla="*/ 373 w 373"/>
                    <a:gd name="T13" fmla="*/ 0 h 373"/>
                    <a:gd name="T14" fmla="*/ 0 w 373"/>
                    <a:gd name="T15" fmla="*/ 0 h 373"/>
                    <a:gd name="T16" fmla="*/ 0 w 373"/>
                    <a:gd name="T17" fmla="*/ 373 h 373"/>
                    <a:gd name="T18" fmla="*/ 373 w 373"/>
                    <a:gd name="T19" fmla="*/ 373 h 373"/>
                    <a:gd name="T20" fmla="*/ 373 w 373"/>
                    <a:gd name="T21" fmla="*/ 257 h 373"/>
                    <a:gd name="T22" fmla="*/ 330 w 373"/>
                    <a:gd name="T23" fmla="*/ 257 h 373"/>
                    <a:gd name="T24" fmla="*/ 330 w 373"/>
                    <a:gd name="T25" fmla="*/ 329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73" h="373">
                      <a:moveTo>
                        <a:pt x="330" y="329"/>
                      </a:moveTo>
                      <a:lnTo>
                        <a:pt x="43" y="329"/>
                      </a:lnTo>
                      <a:lnTo>
                        <a:pt x="43" y="41"/>
                      </a:lnTo>
                      <a:lnTo>
                        <a:pt x="330" y="41"/>
                      </a:lnTo>
                      <a:lnTo>
                        <a:pt x="330" y="99"/>
                      </a:lnTo>
                      <a:lnTo>
                        <a:pt x="373" y="99"/>
                      </a:lnTo>
                      <a:lnTo>
                        <a:pt x="373" y="0"/>
                      </a:lnTo>
                      <a:lnTo>
                        <a:pt x="0" y="0"/>
                      </a:lnTo>
                      <a:lnTo>
                        <a:pt x="0" y="373"/>
                      </a:lnTo>
                      <a:lnTo>
                        <a:pt x="373" y="373"/>
                      </a:lnTo>
                      <a:lnTo>
                        <a:pt x="373" y="257"/>
                      </a:lnTo>
                      <a:lnTo>
                        <a:pt x="330" y="257"/>
                      </a:lnTo>
                      <a:lnTo>
                        <a:pt x="330" y="3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126" name="Freeform 66"/>
                <p:cNvSpPr>
                  <a:spLocks/>
                </p:cNvSpPr>
                <p:nvPr/>
              </p:nvSpPr>
              <p:spPr bwMode="auto">
                <a:xfrm>
                  <a:off x="1020" y="938"/>
                  <a:ext cx="464" cy="370"/>
                </a:xfrm>
                <a:custGeom>
                  <a:avLst/>
                  <a:gdLst>
                    <a:gd name="T0" fmla="*/ 261 w 464"/>
                    <a:gd name="T1" fmla="*/ 0 h 370"/>
                    <a:gd name="T2" fmla="*/ 232 w 464"/>
                    <a:gd name="T3" fmla="*/ 32 h 370"/>
                    <a:gd name="T4" fmla="*/ 375 w 464"/>
                    <a:gd name="T5" fmla="*/ 164 h 370"/>
                    <a:gd name="T6" fmla="*/ 0 w 464"/>
                    <a:gd name="T7" fmla="*/ 164 h 370"/>
                    <a:gd name="T8" fmla="*/ 0 w 464"/>
                    <a:gd name="T9" fmla="*/ 207 h 370"/>
                    <a:gd name="T10" fmla="*/ 375 w 464"/>
                    <a:gd name="T11" fmla="*/ 207 h 370"/>
                    <a:gd name="T12" fmla="*/ 232 w 464"/>
                    <a:gd name="T13" fmla="*/ 339 h 370"/>
                    <a:gd name="T14" fmla="*/ 261 w 464"/>
                    <a:gd name="T15" fmla="*/ 370 h 370"/>
                    <a:gd name="T16" fmla="*/ 464 w 464"/>
                    <a:gd name="T17" fmla="*/ 185 h 370"/>
                    <a:gd name="T18" fmla="*/ 261 w 464"/>
                    <a:gd name="T19" fmla="*/ 0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4" h="370">
                      <a:moveTo>
                        <a:pt x="261" y="0"/>
                      </a:moveTo>
                      <a:lnTo>
                        <a:pt x="232" y="32"/>
                      </a:lnTo>
                      <a:lnTo>
                        <a:pt x="375" y="164"/>
                      </a:lnTo>
                      <a:lnTo>
                        <a:pt x="0" y="164"/>
                      </a:lnTo>
                      <a:lnTo>
                        <a:pt x="0" y="207"/>
                      </a:lnTo>
                      <a:lnTo>
                        <a:pt x="375" y="207"/>
                      </a:lnTo>
                      <a:lnTo>
                        <a:pt x="232" y="339"/>
                      </a:lnTo>
                      <a:lnTo>
                        <a:pt x="261" y="370"/>
                      </a:lnTo>
                      <a:lnTo>
                        <a:pt x="464" y="185"/>
                      </a:lnTo>
                      <a:lnTo>
                        <a:pt x="2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  <p:sp>
            <p:nvSpPr>
              <p:cNvPr id="373" name="TextBox 372"/>
              <p:cNvSpPr txBox="1"/>
              <p:nvPr/>
            </p:nvSpPr>
            <p:spPr>
              <a:xfrm>
                <a:off x="2277974" y="1483757"/>
                <a:ext cx="29815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defRPr sz="1200">
                    <a:solidFill>
                      <a:schemeClr val="tx2"/>
                    </a:solidFill>
                    <a:latin typeface="+mn-lt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en-US" sz="600" dirty="0">
                    <a:latin typeface="+mj-lt"/>
                  </a:rPr>
                  <a:t>App</a:t>
                </a:r>
                <a:br>
                  <a:rPr lang="en-US" sz="600" dirty="0">
                    <a:latin typeface="+mj-lt"/>
                  </a:rPr>
                </a:br>
                <a:r>
                  <a:rPr lang="en-US" sz="600" dirty="0">
                    <a:latin typeface="+mj-lt"/>
                  </a:rPr>
                  <a:t>Upgrade</a:t>
                </a:r>
              </a:p>
            </p:txBody>
          </p:sp>
        </p:grpSp>
      </p:grpSp>
      <p:grpSp>
        <p:nvGrpSpPr>
          <p:cNvPr id="391" name="Group 390"/>
          <p:cNvGrpSpPr/>
          <p:nvPr/>
        </p:nvGrpSpPr>
        <p:grpSpPr>
          <a:xfrm>
            <a:off x="4967073" y="2021814"/>
            <a:ext cx="1527932" cy="1518968"/>
            <a:chOff x="2602314" y="2467694"/>
            <a:chExt cx="732910" cy="732910"/>
          </a:xfrm>
        </p:grpSpPr>
        <p:sp>
          <p:nvSpPr>
            <p:cNvPr id="186" name="Oval 185"/>
            <p:cNvSpPr/>
            <p:nvPr/>
          </p:nvSpPr>
          <p:spPr>
            <a:xfrm>
              <a:off x="2602314" y="2467694"/>
              <a:ext cx="732910" cy="732910"/>
            </a:xfrm>
            <a:prstGeom prst="ellipse">
              <a:avLst/>
            </a:prstGeom>
            <a:solidFill>
              <a:schemeClr val="accent4">
                <a:alpha val="64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700" dirty="0">
                <a:solidFill>
                  <a:schemeClr val="tx2"/>
                </a:solidFill>
                <a:latin typeface="+mn-lt"/>
              </a:endParaRPr>
            </a:p>
          </p:txBody>
        </p:sp>
        <p:grpSp>
          <p:nvGrpSpPr>
            <p:cNvPr id="384" name="Group 383"/>
            <p:cNvGrpSpPr/>
            <p:nvPr/>
          </p:nvGrpSpPr>
          <p:grpSpPr>
            <a:xfrm>
              <a:off x="2828950" y="2653665"/>
              <a:ext cx="279638" cy="191245"/>
              <a:chOff x="2797175" y="523876"/>
              <a:chExt cx="1074738" cy="735013"/>
            </a:xfrm>
            <a:solidFill>
              <a:schemeClr val="tx2"/>
            </a:solidFill>
          </p:grpSpPr>
          <p:sp>
            <p:nvSpPr>
              <p:cNvPr id="385" name="Freeform 200"/>
              <p:cNvSpPr>
                <a:spLocks/>
              </p:cNvSpPr>
              <p:nvPr/>
            </p:nvSpPr>
            <p:spPr bwMode="auto">
              <a:xfrm>
                <a:off x="3525838" y="704851"/>
                <a:ext cx="166688" cy="166688"/>
              </a:xfrm>
              <a:custGeom>
                <a:avLst/>
                <a:gdLst>
                  <a:gd name="T0" fmla="*/ 105 w 105"/>
                  <a:gd name="T1" fmla="*/ 105 h 105"/>
                  <a:gd name="T2" fmla="*/ 88 w 105"/>
                  <a:gd name="T3" fmla="*/ 105 h 105"/>
                  <a:gd name="T4" fmla="*/ 88 w 105"/>
                  <a:gd name="T5" fmla="*/ 17 h 105"/>
                  <a:gd name="T6" fmla="*/ 0 w 105"/>
                  <a:gd name="T7" fmla="*/ 17 h 105"/>
                  <a:gd name="T8" fmla="*/ 0 w 105"/>
                  <a:gd name="T9" fmla="*/ 0 h 105"/>
                  <a:gd name="T10" fmla="*/ 105 w 105"/>
                  <a:gd name="T11" fmla="*/ 0 h 105"/>
                  <a:gd name="T12" fmla="*/ 105 w 105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5" h="105">
                    <a:moveTo>
                      <a:pt x="105" y="105"/>
                    </a:moveTo>
                    <a:lnTo>
                      <a:pt x="88" y="105"/>
                    </a:lnTo>
                    <a:lnTo>
                      <a:pt x="88" y="1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05" y="0"/>
                    </a:lnTo>
                    <a:lnTo>
                      <a:pt x="105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6" name="Freeform 201"/>
              <p:cNvSpPr>
                <a:spLocks/>
              </p:cNvSpPr>
              <p:nvPr/>
            </p:nvSpPr>
            <p:spPr bwMode="auto">
              <a:xfrm>
                <a:off x="2797175" y="714376"/>
                <a:ext cx="890588" cy="544513"/>
              </a:xfrm>
              <a:custGeom>
                <a:avLst/>
                <a:gdLst>
                  <a:gd name="T0" fmla="*/ 109 w 396"/>
                  <a:gd name="T1" fmla="*/ 242 h 242"/>
                  <a:gd name="T2" fmla="*/ 0 w 396"/>
                  <a:gd name="T3" fmla="*/ 133 h 242"/>
                  <a:gd name="T4" fmla="*/ 109 w 396"/>
                  <a:gd name="T5" fmla="*/ 23 h 242"/>
                  <a:gd name="T6" fmla="*/ 109 w 396"/>
                  <a:gd name="T7" fmla="*/ 35 h 242"/>
                  <a:gd name="T8" fmla="*/ 12 w 396"/>
                  <a:gd name="T9" fmla="*/ 133 h 242"/>
                  <a:gd name="T10" fmla="*/ 109 w 396"/>
                  <a:gd name="T11" fmla="*/ 230 h 242"/>
                  <a:gd name="T12" fmla="*/ 159 w 396"/>
                  <a:gd name="T13" fmla="*/ 217 h 242"/>
                  <a:gd name="T14" fmla="*/ 159 w 396"/>
                  <a:gd name="T15" fmla="*/ 216 h 242"/>
                  <a:gd name="T16" fmla="*/ 384 w 396"/>
                  <a:gd name="T17" fmla="*/ 2 h 242"/>
                  <a:gd name="T18" fmla="*/ 389 w 396"/>
                  <a:gd name="T19" fmla="*/ 6 h 242"/>
                  <a:gd name="T20" fmla="*/ 389 w 396"/>
                  <a:gd name="T21" fmla="*/ 5 h 242"/>
                  <a:gd name="T22" fmla="*/ 387 w 396"/>
                  <a:gd name="T23" fmla="*/ 0 h 242"/>
                  <a:gd name="T24" fmla="*/ 395 w 396"/>
                  <a:gd name="T25" fmla="*/ 3 h 242"/>
                  <a:gd name="T26" fmla="*/ 361 w 396"/>
                  <a:gd name="T27" fmla="*/ 42 h 242"/>
                  <a:gd name="T28" fmla="*/ 289 w 396"/>
                  <a:gd name="T29" fmla="*/ 114 h 242"/>
                  <a:gd name="T30" fmla="*/ 165 w 396"/>
                  <a:gd name="T31" fmla="*/ 227 h 242"/>
                  <a:gd name="T32" fmla="*/ 10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109" y="242"/>
                    </a:moveTo>
                    <a:cubicBezTo>
                      <a:pt x="42" y="242"/>
                      <a:pt x="0" y="185"/>
                      <a:pt x="0" y="133"/>
                    </a:cubicBezTo>
                    <a:cubicBezTo>
                      <a:pt x="0" y="80"/>
                      <a:pt x="42" y="23"/>
                      <a:pt x="109" y="23"/>
                    </a:cubicBezTo>
                    <a:cubicBezTo>
                      <a:pt x="109" y="35"/>
                      <a:pt x="109" y="35"/>
                      <a:pt x="109" y="35"/>
                    </a:cubicBezTo>
                    <a:cubicBezTo>
                      <a:pt x="49" y="35"/>
                      <a:pt x="12" y="86"/>
                      <a:pt x="12" y="133"/>
                    </a:cubicBezTo>
                    <a:cubicBezTo>
                      <a:pt x="12" y="180"/>
                      <a:pt x="48" y="230"/>
                      <a:pt x="109" y="230"/>
                    </a:cubicBezTo>
                    <a:cubicBezTo>
                      <a:pt x="127" y="230"/>
                      <a:pt x="146" y="225"/>
                      <a:pt x="159" y="217"/>
                    </a:cubicBezTo>
                    <a:cubicBezTo>
                      <a:pt x="159" y="216"/>
                      <a:pt x="159" y="216"/>
                      <a:pt x="159" y="216"/>
                    </a:cubicBezTo>
                    <a:cubicBezTo>
                      <a:pt x="180" y="208"/>
                      <a:pt x="374" y="15"/>
                      <a:pt x="384" y="2"/>
                    </a:cubicBezTo>
                    <a:cubicBezTo>
                      <a:pt x="389" y="6"/>
                      <a:pt x="389" y="6"/>
                      <a:pt x="389" y="6"/>
                    </a:cubicBezTo>
                    <a:cubicBezTo>
                      <a:pt x="389" y="5"/>
                      <a:pt x="389" y="5"/>
                      <a:pt x="389" y="5"/>
                    </a:cubicBezTo>
                    <a:cubicBezTo>
                      <a:pt x="387" y="0"/>
                      <a:pt x="387" y="0"/>
                      <a:pt x="387" y="0"/>
                    </a:cubicBezTo>
                    <a:cubicBezTo>
                      <a:pt x="395" y="3"/>
                      <a:pt x="395" y="3"/>
                      <a:pt x="395" y="3"/>
                    </a:cubicBezTo>
                    <a:cubicBezTo>
                      <a:pt x="396" y="7"/>
                      <a:pt x="396" y="7"/>
                      <a:pt x="361" y="42"/>
                    </a:cubicBezTo>
                    <a:cubicBezTo>
                      <a:pt x="339" y="65"/>
                      <a:pt x="312" y="91"/>
                      <a:pt x="289" y="114"/>
                    </a:cubicBezTo>
                    <a:cubicBezTo>
                      <a:pt x="218" y="184"/>
                      <a:pt x="176" y="222"/>
                      <a:pt x="165" y="227"/>
                    </a:cubicBezTo>
                    <a:cubicBezTo>
                      <a:pt x="150" y="236"/>
                      <a:pt x="130" y="242"/>
                      <a:pt x="109" y="2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7" name="Freeform 202"/>
              <p:cNvSpPr>
                <a:spLocks/>
              </p:cNvSpPr>
              <p:nvPr/>
            </p:nvSpPr>
            <p:spPr bwMode="auto">
              <a:xfrm>
                <a:off x="2978150" y="912813"/>
                <a:ext cx="165100" cy="166688"/>
              </a:xfrm>
              <a:custGeom>
                <a:avLst/>
                <a:gdLst>
                  <a:gd name="T0" fmla="*/ 104 w 104"/>
                  <a:gd name="T1" fmla="*/ 105 h 105"/>
                  <a:gd name="T2" fmla="*/ 0 w 104"/>
                  <a:gd name="T3" fmla="*/ 105 h 105"/>
                  <a:gd name="T4" fmla="*/ 0 w 104"/>
                  <a:gd name="T5" fmla="*/ 0 h 105"/>
                  <a:gd name="T6" fmla="*/ 17 w 104"/>
                  <a:gd name="T7" fmla="*/ 0 h 105"/>
                  <a:gd name="T8" fmla="*/ 17 w 104"/>
                  <a:gd name="T9" fmla="*/ 87 h 105"/>
                  <a:gd name="T10" fmla="*/ 104 w 104"/>
                  <a:gd name="T11" fmla="*/ 87 h 105"/>
                  <a:gd name="T12" fmla="*/ 104 w 104"/>
                  <a:gd name="T13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05">
                    <a:moveTo>
                      <a:pt x="104" y="105"/>
                    </a:moveTo>
                    <a:lnTo>
                      <a:pt x="0" y="10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87"/>
                    </a:lnTo>
                    <a:lnTo>
                      <a:pt x="104" y="87"/>
                    </a:lnTo>
                    <a:lnTo>
                      <a:pt x="104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88" name="Freeform 203"/>
              <p:cNvSpPr>
                <a:spLocks/>
              </p:cNvSpPr>
              <p:nvPr/>
            </p:nvSpPr>
            <p:spPr bwMode="auto">
              <a:xfrm>
                <a:off x="2982913" y="523876"/>
                <a:ext cx="889000" cy="546100"/>
              </a:xfrm>
              <a:custGeom>
                <a:avLst/>
                <a:gdLst>
                  <a:gd name="T0" fmla="*/ 9 w 396"/>
                  <a:gd name="T1" fmla="*/ 242 h 242"/>
                  <a:gd name="T2" fmla="*/ 1 w 396"/>
                  <a:gd name="T3" fmla="*/ 239 h 242"/>
                  <a:gd name="T4" fmla="*/ 35 w 396"/>
                  <a:gd name="T5" fmla="*/ 200 h 242"/>
                  <a:gd name="T6" fmla="*/ 107 w 396"/>
                  <a:gd name="T7" fmla="*/ 128 h 242"/>
                  <a:gd name="T8" fmla="*/ 231 w 396"/>
                  <a:gd name="T9" fmla="*/ 15 h 242"/>
                  <a:gd name="T10" fmla="*/ 287 w 396"/>
                  <a:gd name="T11" fmla="*/ 0 h 242"/>
                  <a:gd name="T12" fmla="*/ 396 w 396"/>
                  <a:gd name="T13" fmla="*/ 109 h 242"/>
                  <a:gd name="T14" fmla="*/ 287 w 396"/>
                  <a:gd name="T15" fmla="*/ 219 h 242"/>
                  <a:gd name="T16" fmla="*/ 287 w 396"/>
                  <a:gd name="T17" fmla="*/ 207 h 242"/>
                  <a:gd name="T18" fmla="*/ 384 w 396"/>
                  <a:gd name="T19" fmla="*/ 109 h 242"/>
                  <a:gd name="T20" fmla="*/ 287 w 396"/>
                  <a:gd name="T21" fmla="*/ 12 h 242"/>
                  <a:gd name="T22" fmla="*/ 237 w 396"/>
                  <a:gd name="T23" fmla="*/ 25 h 242"/>
                  <a:gd name="T24" fmla="*/ 237 w 396"/>
                  <a:gd name="T25" fmla="*/ 26 h 242"/>
                  <a:gd name="T26" fmla="*/ 12 w 396"/>
                  <a:gd name="T27" fmla="*/ 240 h 242"/>
                  <a:gd name="T28" fmla="*/ 7 w 396"/>
                  <a:gd name="T29" fmla="*/ 236 h 242"/>
                  <a:gd name="T30" fmla="*/ 7 w 396"/>
                  <a:gd name="T31" fmla="*/ 237 h 242"/>
                  <a:gd name="T32" fmla="*/ 9 w 396"/>
                  <a:gd name="T3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6" h="242">
                    <a:moveTo>
                      <a:pt x="9" y="242"/>
                    </a:moveTo>
                    <a:cubicBezTo>
                      <a:pt x="1" y="239"/>
                      <a:pt x="1" y="239"/>
                      <a:pt x="1" y="239"/>
                    </a:cubicBezTo>
                    <a:cubicBezTo>
                      <a:pt x="0" y="235"/>
                      <a:pt x="0" y="235"/>
                      <a:pt x="35" y="200"/>
                    </a:cubicBezTo>
                    <a:cubicBezTo>
                      <a:pt x="57" y="177"/>
                      <a:pt x="84" y="151"/>
                      <a:pt x="107" y="128"/>
                    </a:cubicBezTo>
                    <a:cubicBezTo>
                      <a:pt x="178" y="58"/>
                      <a:pt x="220" y="20"/>
                      <a:pt x="231" y="15"/>
                    </a:cubicBezTo>
                    <a:cubicBezTo>
                      <a:pt x="246" y="6"/>
                      <a:pt x="266" y="0"/>
                      <a:pt x="287" y="0"/>
                    </a:cubicBezTo>
                    <a:cubicBezTo>
                      <a:pt x="354" y="0"/>
                      <a:pt x="396" y="57"/>
                      <a:pt x="396" y="109"/>
                    </a:cubicBezTo>
                    <a:cubicBezTo>
                      <a:pt x="396" y="162"/>
                      <a:pt x="354" y="219"/>
                      <a:pt x="287" y="219"/>
                    </a:cubicBezTo>
                    <a:cubicBezTo>
                      <a:pt x="287" y="207"/>
                      <a:pt x="287" y="207"/>
                      <a:pt x="287" y="207"/>
                    </a:cubicBezTo>
                    <a:cubicBezTo>
                      <a:pt x="347" y="207"/>
                      <a:pt x="384" y="156"/>
                      <a:pt x="384" y="109"/>
                    </a:cubicBezTo>
                    <a:cubicBezTo>
                      <a:pt x="384" y="62"/>
                      <a:pt x="348" y="12"/>
                      <a:pt x="287" y="12"/>
                    </a:cubicBezTo>
                    <a:cubicBezTo>
                      <a:pt x="269" y="12"/>
                      <a:pt x="250" y="17"/>
                      <a:pt x="237" y="25"/>
                    </a:cubicBezTo>
                    <a:cubicBezTo>
                      <a:pt x="237" y="26"/>
                      <a:pt x="237" y="26"/>
                      <a:pt x="237" y="26"/>
                    </a:cubicBezTo>
                    <a:cubicBezTo>
                      <a:pt x="216" y="35"/>
                      <a:pt x="22" y="227"/>
                      <a:pt x="12" y="240"/>
                    </a:cubicBezTo>
                    <a:cubicBezTo>
                      <a:pt x="7" y="236"/>
                      <a:pt x="7" y="236"/>
                      <a:pt x="7" y="236"/>
                    </a:cubicBezTo>
                    <a:cubicBezTo>
                      <a:pt x="7" y="237"/>
                      <a:pt x="7" y="237"/>
                      <a:pt x="7" y="237"/>
                    </a:cubicBezTo>
                    <a:lnTo>
                      <a:pt x="9" y="2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</p:grpSp>
        <p:sp>
          <p:nvSpPr>
            <p:cNvPr id="389" name="Rectangle 388"/>
            <p:cNvSpPr/>
            <p:nvPr/>
          </p:nvSpPr>
          <p:spPr>
            <a:xfrm>
              <a:off x="2736975" y="2882744"/>
              <a:ext cx="463585" cy="118303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en-US" sz="700" dirty="0">
                  <a:solidFill>
                    <a:schemeClr val="tx2"/>
                  </a:solidFill>
                  <a:latin typeface="+mn-lt"/>
                </a:rPr>
                <a:t>Platforms</a:t>
              </a:r>
            </a:p>
          </p:txBody>
        </p:sp>
      </p:grpSp>
      <p:grpSp>
        <p:nvGrpSpPr>
          <p:cNvPr id="447" name="Group 446"/>
          <p:cNvGrpSpPr/>
          <p:nvPr/>
        </p:nvGrpSpPr>
        <p:grpSpPr>
          <a:xfrm>
            <a:off x="3356131" y="3769927"/>
            <a:ext cx="611562" cy="611562"/>
            <a:chOff x="5257088" y="2686166"/>
            <a:chExt cx="457200" cy="457200"/>
          </a:xfrm>
        </p:grpSpPr>
        <p:sp>
          <p:nvSpPr>
            <p:cNvPr id="405" name="Oval 404"/>
            <p:cNvSpPr/>
            <p:nvPr/>
          </p:nvSpPr>
          <p:spPr>
            <a:xfrm>
              <a:off x="5257088" y="2686166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07" name="TextBox 406"/>
            <p:cNvSpPr txBox="1"/>
            <p:nvPr/>
          </p:nvSpPr>
          <p:spPr>
            <a:xfrm>
              <a:off x="5294420" y="2911711"/>
              <a:ext cx="382540" cy="1610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7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Provide Consultation</a:t>
              </a:r>
              <a:endParaRPr lang="en-US" sz="800" dirty="0">
                <a:solidFill>
                  <a:schemeClr val="tx2"/>
                </a:solidFill>
                <a:latin typeface="+mj-lt"/>
                <a:ea typeface="Roboto" pitchFamily="2" charset="0"/>
              </a:endParaRPr>
            </a:p>
          </p:txBody>
        </p:sp>
        <p:grpSp>
          <p:nvGrpSpPr>
            <p:cNvPr id="415" name="Group 414"/>
            <p:cNvGrpSpPr/>
            <p:nvPr/>
          </p:nvGrpSpPr>
          <p:grpSpPr>
            <a:xfrm>
              <a:off x="5399196" y="2748280"/>
              <a:ext cx="172989" cy="164896"/>
              <a:chOff x="-231775" y="5426075"/>
              <a:chExt cx="542926" cy="517526"/>
            </a:xfrm>
            <a:solidFill>
              <a:schemeClr val="tx2"/>
            </a:solidFill>
          </p:grpSpPr>
          <p:sp>
            <p:nvSpPr>
              <p:cNvPr id="416" name="Freeform 15"/>
              <p:cNvSpPr>
                <a:spLocks/>
              </p:cNvSpPr>
              <p:nvPr/>
            </p:nvSpPr>
            <p:spPr bwMode="auto">
              <a:xfrm>
                <a:off x="-9525" y="5737225"/>
                <a:ext cx="53975" cy="44450"/>
              </a:xfrm>
              <a:custGeom>
                <a:avLst/>
                <a:gdLst>
                  <a:gd name="T0" fmla="*/ 105 w 201"/>
                  <a:gd name="T1" fmla="*/ 170 h 170"/>
                  <a:gd name="T2" fmla="*/ 37 w 201"/>
                  <a:gd name="T3" fmla="*/ 142 h 170"/>
                  <a:gd name="T4" fmla="*/ 37 w 201"/>
                  <a:gd name="T5" fmla="*/ 6 h 170"/>
                  <a:gd name="T6" fmla="*/ 60 w 201"/>
                  <a:gd name="T7" fmla="*/ 6 h 170"/>
                  <a:gd name="T8" fmla="*/ 60 w 201"/>
                  <a:gd name="T9" fmla="*/ 29 h 170"/>
                  <a:gd name="T10" fmla="*/ 60 w 201"/>
                  <a:gd name="T11" fmla="*/ 119 h 170"/>
                  <a:gd name="T12" fmla="*/ 150 w 201"/>
                  <a:gd name="T13" fmla="*/ 119 h 170"/>
                  <a:gd name="T14" fmla="*/ 169 w 201"/>
                  <a:gd name="T15" fmla="*/ 75 h 170"/>
                  <a:gd name="T16" fmla="*/ 185 w 201"/>
                  <a:gd name="T17" fmla="*/ 59 h 170"/>
                  <a:gd name="T18" fmla="*/ 201 w 201"/>
                  <a:gd name="T19" fmla="*/ 75 h 170"/>
                  <a:gd name="T20" fmla="*/ 173 w 201"/>
                  <a:gd name="T21" fmla="*/ 142 h 170"/>
                  <a:gd name="T22" fmla="*/ 105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105" y="170"/>
                    </a:moveTo>
                    <a:cubicBezTo>
                      <a:pt x="80" y="170"/>
                      <a:pt x="56" y="160"/>
                      <a:pt x="37" y="142"/>
                    </a:cubicBezTo>
                    <a:cubicBezTo>
                      <a:pt x="0" y="104"/>
                      <a:pt x="0" y="43"/>
                      <a:pt x="37" y="6"/>
                    </a:cubicBezTo>
                    <a:cubicBezTo>
                      <a:pt x="44" y="0"/>
                      <a:pt x="54" y="0"/>
                      <a:pt x="60" y="6"/>
                    </a:cubicBezTo>
                    <a:cubicBezTo>
                      <a:pt x="66" y="12"/>
                      <a:pt x="66" y="22"/>
                      <a:pt x="60" y="29"/>
                    </a:cubicBezTo>
                    <a:cubicBezTo>
                      <a:pt x="35" y="54"/>
                      <a:pt x="35" y="94"/>
                      <a:pt x="60" y="119"/>
                    </a:cubicBezTo>
                    <a:cubicBezTo>
                      <a:pt x="85" y="144"/>
                      <a:pt x="125" y="144"/>
                      <a:pt x="150" y="119"/>
                    </a:cubicBezTo>
                    <a:cubicBezTo>
                      <a:pt x="162" y="107"/>
                      <a:pt x="169" y="91"/>
                      <a:pt x="169" y="75"/>
                    </a:cubicBezTo>
                    <a:cubicBezTo>
                      <a:pt x="169" y="66"/>
                      <a:pt x="176" y="59"/>
                      <a:pt x="185" y="59"/>
                    </a:cubicBezTo>
                    <a:cubicBezTo>
                      <a:pt x="194" y="59"/>
                      <a:pt x="201" y="66"/>
                      <a:pt x="201" y="75"/>
                    </a:cubicBezTo>
                    <a:cubicBezTo>
                      <a:pt x="201" y="100"/>
                      <a:pt x="191" y="124"/>
                      <a:pt x="173" y="142"/>
                    </a:cubicBezTo>
                    <a:cubicBezTo>
                      <a:pt x="154" y="160"/>
                      <a:pt x="130" y="170"/>
                      <a:pt x="105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16"/>
              <p:cNvSpPr>
                <a:spLocks/>
              </p:cNvSpPr>
              <p:nvPr/>
            </p:nvSpPr>
            <p:spPr bwMode="auto">
              <a:xfrm>
                <a:off x="-31750" y="5622925"/>
                <a:ext cx="44450" cy="50800"/>
              </a:xfrm>
              <a:custGeom>
                <a:avLst/>
                <a:gdLst>
                  <a:gd name="T0" fmla="*/ 96 w 167"/>
                  <a:gd name="T1" fmla="*/ 192 h 192"/>
                  <a:gd name="T2" fmla="*/ 0 w 167"/>
                  <a:gd name="T3" fmla="*/ 96 h 192"/>
                  <a:gd name="T4" fmla="*/ 96 w 167"/>
                  <a:gd name="T5" fmla="*/ 0 h 192"/>
                  <a:gd name="T6" fmla="*/ 160 w 167"/>
                  <a:gd name="T7" fmla="*/ 24 h 192"/>
                  <a:gd name="T8" fmla="*/ 161 w 167"/>
                  <a:gd name="T9" fmla="*/ 47 h 192"/>
                  <a:gd name="T10" fmla="*/ 139 w 167"/>
                  <a:gd name="T11" fmla="*/ 48 h 192"/>
                  <a:gd name="T12" fmla="*/ 96 w 167"/>
                  <a:gd name="T13" fmla="*/ 32 h 192"/>
                  <a:gd name="T14" fmla="*/ 32 w 167"/>
                  <a:gd name="T15" fmla="*/ 96 h 192"/>
                  <a:gd name="T16" fmla="*/ 96 w 167"/>
                  <a:gd name="T17" fmla="*/ 160 h 192"/>
                  <a:gd name="T18" fmla="*/ 112 w 167"/>
                  <a:gd name="T19" fmla="*/ 176 h 192"/>
                  <a:gd name="T20" fmla="*/ 96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96" y="192"/>
                    </a:moveTo>
                    <a:cubicBezTo>
                      <a:pt x="43" y="192"/>
                      <a:pt x="0" y="149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20" y="0"/>
                      <a:pt x="142" y="9"/>
                      <a:pt x="160" y="24"/>
                    </a:cubicBezTo>
                    <a:cubicBezTo>
                      <a:pt x="166" y="30"/>
                      <a:pt x="167" y="40"/>
                      <a:pt x="161" y="47"/>
                    </a:cubicBezTo>
                    <a:cubicBezTo>
                      <a:pt x="155" y="53"/>
                      <a:pt x="145" y="54"/>
                      <a:pt x="139" y="48"/>
                    </a:cubicBezTo>
                    <a:cubicBezTo>
                      <a:pt x="127" y="38"/>
                      <a:pt x="112" y="32"/>
                      <a:pt x="96" y="32"/>
                    </a:cubicBezTo>
                    <a:cubicBezTo>
                      <a:pt x="61" y="32"/>
                      <a:pt x="32" y="61"/>
                      <a:pt x="32" y="96"/>
                    </a:cubicBezTo>
                    <a:cubicBezTo>
                      <a:pt x="32" y="131"/>
                      <a:pt x="61" y="160"/>
                      <a:pt x="96" y="160"/>
                    </a:cubicBezTo>
                    <a:cubicBezTo>
                      <a:pt x="105" y="160"/>
                      <a:pt x="112" y="167"/>
                      <a:pt x="112" y="176"/>
                    </a:cubicBezTo>
                    <a:cubicBezTo>
                      <a:pt x="112" y="185"/>
                      <a:pt x="105" y="192"/>
                      <a:pt x="96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17"/>
              <p:cNvSpPr>
                <a:spLocks/>
              </p:cNvSpPr>
              <p:nvPr/>
            </p:nvSpPr>
            <p:spPr bwMode="auto">
              <a:xfrm>
                <a:off x="-44450" y="5689600"/>
                <a:ext cx="20638" cy="31750"/>
              </a:xfrm>
              <a:custGeom>
                <a:avLst/>
                <a:gdLst>
                  <a:gd name="T0" fmla="*/ 45 w 80"/>
                  <a:gd name="T1" fmla="*/ 124 h 124"/>
                  <a:gd name="T2" fmla="*/ 39 w 80"/>
                  <a:gd name="T3" fmla="*/ 123 h 124"/>
                  <a:gd name="T4" fmla="*/ 0 w 80"/>
                  <a:gd name="T5" fmla="*/ 64 h 124"/>
                  <a:gd name="T6" fmla="*/ 64 w 80"/>
                  <a:gd name="T7" fmla="*/ 0 h 124"/>
                  <a:gd name="T8" fmla="*/ 80 w 80"/>
                  <a:gd name="T9" fmla="*/ 16 h 124"/>
                  <a:gd name="T10" fmla="*/ 64 w 80"/>
                  <a:gd name="T11" fmla="*/ 32 h 124"/>
                  <a:gd name="T12" fmla="*/ 32 w 80"/>
                  <a:gd name="T13" fmla="*/ 64 h 124"/>
                  <a:gd name="T14" fmla="*/ 51 w 80"/>
                  <a:gd name="T15" fmla="*/ 93 h 124"/>
                  <a:gd name="T16" fmla="*/ 60 w 80"/>
                  <a:gd name="T17" fmla="*/ 114 h 124"/>
                  <a:gd name="T18" fmla="*/ 4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45" y="124"/>
                    </a:moveTo>
                    <a:cubicBezTo>
                      <a:pt x="43" y="124"/>
                      <a:pt x="41" y="123"/>
                      <a:pt x="39" y="123"/>
                    </a:cubicBezTo>
                    <a:cubicBezTo>
                      <a:pt x="15" y="112"/>
                      <a:pt x="0" y="89"/>
                      <a:pt x="0" y="64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73" y="0"/>
                      <a:pt x="80" y="7"/>
                      <a:pt x="80" y="16"/>
                    </a:cubicBezTo>
                    <a:cubicBezTo>
                      <a:pt x="80" y="25"/>
                      <a:pt x="73" y="32"/>
                      <a:pt x="64" y="32"/>
                    </a:cubicBezTo>
                    <a:cubicBezTo>
                      <a:pt x="47" y="32"/>
                      <a:pt x="32" y="46"/>
                      <a:pt x="32" y="64"/>
                    </a:cubicBezTo>
                    <a:cubicBezTo>
                      <a:pt x="32" y="77"/>
                      <a:pt x="40" y="88"/>
                      <a:pt x="51" y="93"/>
                    </a:cubicBezTo>
                    <a:cubicBezTo>
                      <a:pt x="60" y="97"/>
                      <a:pt x="63" y="106"/>
                      <a:pt x="60" y="114"/>
                    </a:cubicBezTo>
                    <a:cubicBezTo>
                      <a:pt x="57" y="120"/>
                      <a:pt x="51" y="124"/>
                      <a:pt x="4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18"/>
              <p:cNvSpPr>
                <a:spLocks/>
              </p:cNvSpPr>
              <p:nvPr/>
            </p:nvSpPr>
            <p:spPr bwMode="auto">
              <a:xfrm>
                <a:off x="-49213" y="5653088"/>
                <a:ext cx="30163" cy="44450"/>
              </a:xfrm>
              <a:custGeom>
                <a:avLst/>
                <a:gdLst>
                  <a:gd name="T0" fmla="*/ 80 w 111"/>
                  <a:gd name="T1" fmla="*/ 168 h 168"/>
                  <a:gd name="T2" fmla="*/ 0 w 111"/>
                  <a:gd name="T3" fmla="*/ 88 h 168"/>
                  <a:gd name="T4" fmla="*/ 97 w 111"/>
                  <a:gd name="T5" fmla="*/ 10 h 168"/>
                  <a:gd name="T6" fmla="*/ 109 w 111"/>
                  <a:gd name="T7" fmla="*/ 29 h 168"/>
                  <a:gd name="T8" fmla="*/ 90 w 111"/>
                  <a:gd name="T9" fmla="*/ 41 h 168"/>
                  <a:gd name="T10" fmla="*/ 32 w 111"/>
                  <a:gd name="T11" fmla="*/ 88 h 168"/>
                  <a:gd name="T12" fmla="*/ 80 w 111"/>
                  <a:gd name="T13" fmla="*/ 136 h 168"/>
                  <a:gd name="T14" fmla="*/ 96 w 111"/>
                  <a:gd name="T15" fmla="*/ 152 h 168"/>
                  <a:gd name="T16" fmla="*/ 80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80" y="168"/>
                    </a:moveTo>
                    <a:cubicBezTo>
                      <a:pt x="36" y="168"/>
                      <a:pt x="0" y="132"/>
                      <a:pt x="0" y="88"/>
                    </a:cubicBezTo>
                    <a:cubicBezTo>
                      <a:pt x="0" y="38"/>
                      <a:pt x="48" y="0"/>
                      <a:pt x="97" y="10"/>
                    </a:cubicBezTo>
                    <a:cubicBezTo>
                      <a:pt x="106" y="12"/>
                      <a:pt x="111" y="20"/>
                      <a:pt x="109" y="29"/>
                    </a:cubicBezTo>
                    <a:cubicBezTo>
                      <a:pt x="108" y="37"/>
                      <a:pt x="99" y="43"/>
                      <a:pt x="90" y="41"/>
                    </a:cubicBezTo>
                    <a:cubicBezTo>
                      <a:pt x="61" y="35"/>
                      <a:pt x="32" y="58"/>
                      <a:pt x="32" y="88"/>
                    </a:cubicBezTo>
                    <a:cubicBezTo>
                      <a:pt x="32" y="114"/>
                      <a:pt x="54" y="136"/>
                      <a:pt x="80" y="136"/>
                    </a:cubicBezTo>
                    <a:cubicBezTo>
                      <a:pt x="89" y="136"/>
                      <a:pt x="96" y="143"/>
                      <a:pt x="96" y="152"/>
                    </a:cubicBezTo>
                    <a:cubicBezTo>
                      <a:pt x="96" y="161"/>
                      <a:pt x="89" y="168"/>
                      <a:pt x="80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19"/>
              <p:cNvSpPr>
                <a:spLocks/>
              </p:cNvSpPr>
              <p:nvPr/>
            </p:nvSpPr>
            <p:spPr bwMode="auto">
              <a:xfrm>
                <a:off x="1588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0 w 160"/>
                  <a:gd name="T3" fmla="*/ 80 h 160"/>
                  <a:gd name="T4" fmla="*/ 80 w 160"/>
                  <a:gd name="T5" fmla="*/ 0 h 160"/>
                  <a:gd name="T6" fmla="*/ 160 w 160"/>
                  <a:gd name="T7" fmla="*/ 80 h 160"/>
                  <a:gd name="T8" fmla="*/ 144 w 160"/>
                  <a:gd name="T9" fmla="*/ 96 h 160"/>
                  <a:gd name="T10" fmla="*/ 128 w 160"/>
                  <a:gd name="T11" fmla="*/ 80 h 160"/>
                  <a:gd name="T12" fmla="*/ 80 w 160"/>
                  <a:gd name="T13" fmla="*/ 32 h 160"/>
                  <a:gd name="T14" fmla="*/ 32 w 160"/>
                  <a:gd name="T15" fmla="*/ 80 h 160"/>
                  <a:gd name="T16" fmla="*/ 80 w 160"/>
                  <a:gd name="T17" fmla="*/ 128 h 160"/>
                  <a:gd name="T18" fmla="*/ 96 w 160"/>
                  <a:gd name="T19" fmla="*/ 144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36" y="160"/>
                      <a:pt x="0" y="124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89"/>
                      <a:pt x="153" y="96"/>
                      <a:pt x="144" y="96"/>
                    </a:cubicBezTo>
                    <a:cubicBezTo>
                      <a:pt x="135" y="96"/>
                      <a:pt x="128" y="89"/>
                      <a:pt x="128" y="80"/>
                    </a:cubicBezTo>
                    <a:cubicBezTo>
                      <a:pt x="128" y="54"/>
                      <a:pt x="107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107"/>
                      <a:pt x="54" y="128"/>
                      <a:pt x="80" y="128"/>
                    </a:cubicBezTo>
                    <a:cubicBezTo>
                      <a:pt x="89" y="128"/>
                      <a:pt x="96" y="135"/>
                      <a:pt x="96" y="144"/>
                    </a:cubicBezTo>
                    <a:cubicBezTo>
                      <a:pt x="96" y="153"/>
                      <a:pt x="89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20"/>
              <p:cNvSpPr>
                <a:spLocks/>
              </p:cNvSpPr>
              <p:nvPr/>
            </p:nvSpPr>
            <p:spPr bwMode="auto">
              <a:xfrm>
                <a:off x="-44450" y="5697538"/>
                <a:ext cx="63500" cy="68263"/>
              </a:xfrm>
              <a:custGeom>
                <a:avLst/>
                <a:gdLst>
                  <a:gd name="T0" fmla="*/ 140 w 237"/>
                  <a:gd name="T1" fmla="*/ 256 h 256"/>
                  <a:gd name="T2" fmla="*/ 50 w 237"/>
                  <a:gd name="T3" fmla="*/ 218 h 256"/>
                  <a:gd name="T4" fmla="*/ 50 w 237"/>
                  <a:gd name="T5" fmla="*/ 37 h 256"/>
                  <a:gd name="T6" fmla="*/ 140 w 237"/>
                  <a:gd name="T7" fmla="*/ 0 h 256"/>
                  <a:gd name="T8" fmla="*/ 140 w 237"/>
                  <a:gd name="T9" fmla="*/ 0 h 256"/>
                  <a:gd name="T10" fmla="*/ 231 w 237"/>
                  <a:gd name="T11" fmla="*/ 37 h 256"/>
                  <a:gd name="T12" fmla="*/ 231 w 237"/>
                  <a:gd name="T13" fmla="*/ 60 h 256"/>
                  <a:gd name="T14" fmla="*/ 208 w 237"/>
                  <a:gd name="T15" fmla="*/ 60 h 256"/>
                  <a:gd name="T16" fmla="*/ 140 w 237"/>
                  <a:gd name="T17" fmla="*/ 32 h 256"/>
                  <a:gd name="T18" fmla="*/ 140 w 237"/>
                  <a:gd name="T19" fmla="*/ 32 h 256"/>
                  <a:gd name="T20" fmla="*/ 72 w 237"/>
                  <a:gd name="T21" fmla="*/ 60 h 256"/>
                  <a:gd name="T22" fmla="*/ 72 w 237"/>
                  <a:gd name="T23" fmla="*/ 196 h 256"/>
                  <a:gd name="T24" fmla="*/ 155 w 237"/>
                  <a:gd name="T25" fmla="*/ 223 h 256"/>
                  <a:gd name="T26" fmla="*/ 173 w 237"/>
                  <a:gd name="T27" fmla="*/ 236 h 256"/>
                  <a:gd name="T28" fmla="*/ 160 w 237"/>
                  <a:gd name="T29" fmla="*/ 254 h 256"/>
                  <a:gd name="T30" fmla="*/ 140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140" y="256"/>
                    </a:moveTo>
                    <a:cubicBezTo>
                      <a:pt x="107" y="256"/>
                      <a:pt x="74" y="242"/>
                      <a:pt x="50" y="218"/>
                    </a:cubicBezTo>
                    <a:cubicBezTo>
                      <a:pt x="0" y="168"/>
                      <a:pt x="0" y="87"/>
                      <a:pt x="50" y="37"/>
                    </a:cubicBezTo>
                    <a:cubicBezTo>
                      <a:pt x="74" y="13"/>
                      <a:pt x="106" y="0"/>
                      <a:pt x="140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74" y="0"/>
                      <a:pt x="206" y="13"/>
                      <a:pt x="231" y="37"/>
                    </a:cubicBezTo>
                    <a:cubicBezTo>
                      <a:pt x="237" y="44"/>
                      <a:pt x="237" y="54"/>
                      <a:pt x="231" y="60"/>
                    </a:cubicBezTo>
                    <a:cubicBezTo>
                      <a:pt x="224" y="66"/>
                      <a:pt x="214" y="66"/>
                      <a:pt x="208" y="60"/>
                    </a:cubicBezTo>
                    <a:cubicBezTo>
                      <a:pt x="190" y="42"/>
                      <a:pt x="166" y="32"/>
                      <a:pt x="140" y="32"/>
                    </a:cubicBezTo>
                    <a:cubicBezTo>
                      <a:pt x="140" y="32"/>
                      <a:pt x="140" y="32"/>
                      <a:pt x="140" y="32"/>
                    </a:cubicBezTo>
                    <a:cubicBezTo>
                      <a:pt x="115" y="32"/>
                      <a:pt x="91" y="42"/>
                      <a:pt x="72" y="60"/>
                    </a:cubicBezTo>
                    <a:cubicBezTo>
                      <a:pt x="35" y="97"/>
                      <a:pt x="35" y="158"/>
                      <a:pt x="72" y="196"/>
                    </a:cubicBezTo>
                    <a:cubicBezTo>
                      <a:pt x="94" y="217"/>
                      <a:pt x="125" y="228"/>
                      <a:pt x="155" y="223"/>
                    </a:cubicBezTo>
                    <a:cubicBezTo>
                      <a:pt x="164" y="222"/>
                      <a:pt x="172" y="227"/>
                      <a:pt x="173" y="236"/>
                    </a:cubicBezTo>
                    <a:cubicBezTo>
                      <a:pt x="175" y="245"/>
                      <a:pt x="169" y="253"/>
                      <a:pt x="160" y="254"/>
                    </a:cubicBezTo>
                    <a:cubicBezTo>
                      <a:pt x="153" y="255"/>
                      <a:pt x="147" y="256"/>
                      <a:pt x="140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21"/>
              <p:cNvSpPr>
                <a:spLocks/>
              </p:cNvSpPr>
              <p:nvPr/>
            </p:nvSpPr>
            <p:spPr bwMode="auto">
              <a:xfrm>
                <a:off x="34925" y="5737225"/>
                <a:ext cx="53975" cy="44450"/>
              </a:xfrm>
              <a:custGeom>
                <a:avLst/>
                <a:gdLst>
                  <a:gd name="T0" fmla="*/ 96 w 201"/>
                  <a:gd name="T1" fmla="*/ 170 h 170"/>
                  <a:gd name="T2" fmla="*/ 28 w 201"/>
                  <a:gd name="T3" fmla="*/ 142 h 170"/>
                  <a:gd name="T4" fmla="*/ 0 w 201"/>
                  <a:gd name="T5" fmla="*/ 75 h 170"/>
                  <a:gd name="T6" fmla="*/ 16 w 201"/>
                  <a:gd name="T7" fmla="*/ 59 h 170"/>
                  <a:gd name="T8" fmla="*/ 32 w 201"/>
                  <a:gd name="T9" fmla="*/ 75 h 170"/>
                  <a:gd name="T10" fmla="*/ 51 w 201"/>
                  <a:gd name="T11" fmla="*/ 119 h 170"/>
                  <a:gd name="T12" fmla="*/ 141 w 201"/>
                  <a:gd name="T13" fmla="*/ 119 h 170"/>
                  <a:gd name="T14" fmla="*/ 141 w 201"/>
                  <a:gd name="T15" fmla="*/ 29 h 170"/>
                  <a:gd name="T16" fmla="*/ 141 w 201"/>
                  <a:gd name="T17" fmla="*/ 6 h 170"/>
                  <a:gd name="T18" fmla="*/ 164 w 201"/>
                  <a:gd name="T19" fmla="*/ 6 h 170"/>
                  <a:gd name="T20" fmla="*/ 164 w 201"/>
                  <a:gd name="T21" fmla="*/ 142 h 170"/>
                  <a:gd name="T22" fmla="*/ 96 w 201"/>
                  <a:gd name="T23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1" h="170">
                    <a:moveTo>
                      <a:pt x="96" y="170"/>
                    </a:moveTo>
                    <a:cubicBezTo>
                      <a:pt x="71" y="170"/>
                      <a:pt x="47" y="160"/>
                      <a:pt x="28" y="142"/>
                    </a:cubicBezTo>
                    <a:cubicBezTo>
                      <a:pt x="10" y="124"/>
                      <a:pt x="0" y="100"/>
                      <a:pt x="0" y="75"/>
                    </a:cubicBezTo>
                    <a:cubicBezTo>
                      <a:pt x="0" y="66"/>
                      <a:pt x="7" y="59"/>
                      <a:pt x="16" y="59"/>
                    </a:cubicBezTo>
                    <a:cubicBezTo>
                      <a:pt x="25" y="59"/>
                      <a:pt x="32" y="66"/>
                      <a:pt x="32" y="75"/>
                    </a:cubicBezTo>
                    <a:cubicBezTo>
                      <a:pt x="32" y="91"/>
                      <a:pt x="39" y="107"/>
                      <a:pt x="51" y="119"/>
                    </a:cubicBezTo>
                    <a:cubicBezTo>
                      <a:pt x="76" y="144"/>
                      <a:pt x="116" y="144"/>
                      <a:pt x="141" y="119"/>
                    </a:cubicBezTo>
                    <a:cubicBezTo>
                      <a:pt x="166" y="94"/>
                      <a:pt x="166" y="54"/>
                      <a:pt x="141" y="29"/>
                    </a:cubicBezTo>
                    <a:cubicBezTo>
                      <a:pt x="135" y="22"/>
                      <a:pt x="135" y="12"/>
                      <a:pt x="141" y="6"/>
                    </a:cubicBezTo>
                    <a:cubicBezTo>
                      <a:pt x="148" y="0"/>
                      <a:pt x="158" y="0"/>
                      <a:pt x="164" y="6"/>
                    </a:cubicBezTo>
                    <a:cubicBezTo>
                      <a:pt x="201" y="43"/>
                      <a:pt x="201" y="104"/>
                      <a:pt x="164" y="142"/>
                    </a:cubicBezTo>
                    <a:cubicBezTo>
                      <a:pt x="145" y="160"/>
                      <a:pt x="121" y="170"/>
                      <a:pt x="96" y="1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22"/>
              <p:cNvSpPr>
                <a:spLocks/>
              </p:cNvSpPr>
              <p:nvPr/>
            </p:nvSpPr>
            <p:spPr bwMode="auto">
              <a:xfrm>
                <a:off x="68263" y="5622925"/>
                <a:ext cx="44450" cy="50800"/>
              </a:xfrm>
              <a:custGeom>
                <a:avLst/>
                <a:gdLst>
                  <a:gd name="T0" fmla="*/ 71 w 167"/>
                  <a:gd name="T1" fmla="*/ 192 h 192"/>
                  <a:gd name="T2" fmla="*/ 55 w 167"/>
                  <a:gd name="T3" fmla="*/ 176 h 192"/>
                  <a:gd name="T4" fmla="*/ 71 w 167"/>
                  <a:gd name="T5" fmla="*/ 160 h 192"/>
                  <a:gd name="T6" fmla="*/ 135 w 167"/>
                  <a:gd name="T7" fmla="*/ 96 h 192"/>
                  <a:gd name="T8" fmla="*/ 71 w 167"/>
                  <a:gd name="T9" fmla="*/ 32 h 192"/>
                  <a:gd name="T10" fmla="*/ 28 w 167"/>
                  <a:gd name="T11" fmla="*/ 48 h 192"/>
                  <a:gd name="T12" fmla="*/ 6 w 167"/>
                  <a:gd name="T13" fmla="*/ 47 h 192"/>
                  <a:gd name="T14" fmla="*/ 7 w 167"/>
                  <a:gd name="T15" fmla="*/ 24 h 192"/>
                  <a:gd name="T16" fmla="*/ 71 w 167"/>
                  <a:gd name="T17" fmla="*/ 0 h 192"/>
                  <a:gd name="T18" fmla="*/ 167 w 167"/>
                  <a:gd name="T19" fmla="*/ 96 h 192"/>
                  <a:gd name="T20" fmla="*/ 71 w 167"/>
                  <a:gd name="T21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7" h="192">
                    <a:moveTo>
                      <a:pt x="71" y="192"/>
                    </a:moveTo>
                    <a:cubicBezTo>
                      <a:pt x="62" y="192"/>
                      <a:pt x="55" y="185"/>
                      <a:pt x="55" y="176"/>
                    </a:cubicBezTo>
                    <a:cubicBezTo>
                      <a:pt x="55" y="167"/>
                      <a:pt x="62" y="160"/>
                      <a:pt x="71" y="160"/>
                    </a:cubicBezTo>
                    <a:cubicBezTo>
                      <a:pt x="106" y="160"/>
                      <a:pt x="135" y="131"/>
                      <a:pt x="135" y="96"/>
                    </a:cubicBezTo>
                    <a:cubicBezTo>
                      <a:pt x="135" y="61"/>
                      <a:pt x="106" y="32"/>
                      <a:pt x="71" y="32"/>
                    </a:cubicBezTo>
                    <a:cubicBezTo>
                      <a:pt x="55" y="32"/>
                      <a:pt x="40" y="38"/>
                      <a:pt x="28" y="48"/>
                    </a:cubicBezTo>
                    <a:cubicBezTo>
                      <a:pt x="22" y="54"/>
                      <a:pt x="12" y="53"/>
                      <a:pt x="6" y="47"/>
                    </a:cubicBezTo>
                    <a:cubicBezTo>
                      <a:pt x="0" y="40"/>
                      <a:pt x="1" y="30"/>
                      <a:pt x="7" y="24"/>
                    </a:cubicBezTo>
                    <a:cubicBezTo>
                      <a:pt x="25" y="9"/>
                      <a:pt x="47" y="0"/>
                      <a:pt x="71" y="0"/>
                    </a:cubicBezTo>
                    <a:cubicBezTo>
                      <a:pt x="124" y="0"/>
                      <a:pt x="167" y="43"/>
                      <a:pt x="167" y="96"/>
                    </a:cubicBezTo>
                    <a:cubicBezTo>
                      <a:pt x="167" y="149"/>
                      <a:pt x="124" y="192"/>
                      <a:pt x="71" y="1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23"/>
              <p:cNvSpPr>
                <a:spLocks/>
              </p:cNvSpPr>
              <p:nvPr/>
            </p:nvSpPr>
            <p:spPr bwMode="auto">
              <a:xfrm>
                <a:off x="103188" y="5689600"/>
                <a:ext cx="22225" cy="31750"/>
              </a:xfrm>
              <a:custGeom>
                <a:avLst/>
                <a:gdLst>
                  <a:gd name="T0" fmla="*/ 35 w 80"/>
                  <a:gd name="T1" fmla="*/ 124 h 124"/>
                  <a:gd name="T2" fmla="*/ 20 w 80"/>
                  <a:gd name="T3" fmla="*/ 114 h 124"/>
                  <a:gd name="T4" fmla="*/ 29 w 80"/>
                  <a:gd name="T5" fmla="*/ 93 h 124"/>
                  <a:gd name="T6" fmla="*/ 48 w 80"/>
                  <a:gd name="T7" fmla="*/ 64 h 124"/>
                  <a:gd name="T8" fmla="*/ 16 w 80"/>
                  <a:gd name="T9" fmla="*/ 32 h 124"/>
                  <a:gd name="T10" fmla="*/ 0 w 80"/>
                  <a:gd name="T11" fmla="*/ 16 h 124"/>
                  <a:gd name="T12" fmla="*/ 16 w 80"/>
                  <a:gd name="T13" fmla="*/ 0 h 124"/>
                  <a:gd name="T14" fmla="*/ 80 w 80"/>
                  <a:gd name="T15" fmla="*/ 64 h 124"/>
                  <a:gd name="T16" fmla="*/ 41 w 80"/>
                  <a:gd name="T17" fmla="*/ 123 h 124"/>
                  <a:gd name="T18" fmla="*/ 35 w 80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124">
                    <a:moveTo>
                      <a:pt x="35" y="124"/>
                    </a:moveTo>
                    <a:cubicBezTo>
                      <a:pt x="29" y="124"/>
                      <a:pt x="23" y="120"/>
                      <a:pt x="20" y="114"/>
                    </a:cubicBezTo>
                    <a:cubicBezTo>
                      <a:pt x="17" y="106"/>
                      <a:pt x="21" y="97"/>
                      <a:pt x="29" y="93"/>
                    </a:cubicBezTo>
                    <a:cubicBezTo>
                      <a:pt x="40" y="88"/>
                      <a:pt x="48" y="77"/>
                      <a:pt x="48" y="64"/>
                    </a:cubicBezTo>
                    <a:cubicBezTo>
                      <a:pt x="48" y="46"/>
                      <a:pt x="34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1" y="0"/>
                      <a:pt x="80" y="29"/>
                      <a:pt x="80" y="64"/>
                    </a:cubicBezTo>
                    <a:cubicBezTo>
                      <a:pt x="80" y="89"/>
                      <a:pt x="65" y="112"/>
                      <a:pt x="41" y="123"/>
                    </a:cubicBezTo>
                    <a:cubicBezTo>
                      <a:pt x="39" y="123"/>
                      <a:pt x="37" y="124"/>
                      <a:pt x="35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24"/>
              <p:cNvSpPr>
                <a:spLocks/>
              </p:cNvSpPr>
              <p:nvPr/>
            </p:nvSpPr>
            <p:spPr bwMode="auto">
              <a:xfrm>
                <a:off x="100013" y="5653088"/>
                <a:ext cx="28575" cy="44450"/>
              </a:xfrm>
              <a:custGeom>
                <a:avLst/>
                <a:gdLst>
                  <a:gd name="T0" fmla="*/ 31 w 111"/>
                  <a:gd name="T1" fmla="*/ 168 h 168"/>
                  <a:gd name="T2" fmla="*/ 15 w 111"/>
                  <a:gd name="T3" fmla="*/ 152 h 168"/>
                  <a:gd name="T4" fmla="*/ 31 w 111"/>
                  <a:gd name="T5" fmla="*/ 136 h 168"/>
                  <a:gd name="T6" fmla="*/ 79 w 111"/>
                  <a:gd name="T7" fmla="*/ 88 h 168"/>
                  <a:gd name="T8" fmla="*/ 21 w 111"/>
                  <a:gd name="T9" fmla="*/ 41 h 168"/>
                  <a:gd name="T10" fmla="*/ 2 w 111"/>
                  <a:gd name="T11" fmla="*/ 29 h 168"/>
                  <a:gd name="T12" fmla="*/ 14 w 111"/>
                  <a:gd name="T13" fmla="*/ 10 h 168"/>
                  <a:gd name="T14" fmla="*/ 111 w 111"/>
                  <a:gd name="T15" fmla="*/ 88 h 168"/>
                  <a:gd name="T16" fmla="*/ 31 w 111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168">
                    <a:moveTo>
                      <a:pt x="31" y="168"/>
                    </a:moveTo>
                    <a:cubicBezTo>
                      <a:pt x="22" y="168"/>
                      <a:pt x="15" y="161"/>
                      <a:pt x="15" y="152"/>
                    </a:cubicBezTo>
                    <a:cubicBezTo>
                      <a:pt x="15" y="143"/>
                      <a:pt x="22" y="136"/>
                      <a:pt x="31" y="136"/>
                    </a:cubicBezTo>
                    <a:cubicBezTo>
                      <a:pt x="57" y="136"/>
                      <a:pt x="79" y="115"/>
                      <a:pt x="79" y="88"/>
                    </a:cubicBezTo>
                    <a:cubicBezTo>
                      <a:pt x="79" y="58"/>
                      <a:pt x="50" y="35"/>
                      <a:pt x="21" y="41"/>
                    </a:cubicBezTo>
                    <a:cubicBezTo>
                      <a:pt x="12" y="43"/>
                      <a:pt x="4" y="37"/>
                      <a:pt x="2" y="29"/>
                    </a:cubicBezTo>
                    <a:cubicBezTo>
                      <a:pt x="0" y="20"/>
                      <a:pt x="6" y="12"/>
                      <a:pt x="14" y="10"/>
                    </a:cubicBezTo>
                    <a:cubicBezTo>
                      <a:pt x="64" y="0"/>
                      <a:pt x="111" y="38"/>
                      <a:pt x="111" y="88"/>
                    </a:cubicBezTo>
                    <a:cubicBezTo>
                      <a:pt x="111" y="132"/>
                      <a:pt x="75" y="168"/>
                      <a:pt x="31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25"/>
              <p:cNvSpPr>
                <a:spLocks/>
              </p:cNvSpPr>
              <p:nvPr/>
            </p:nvSpPr>
            <p:spPr bwMode="auto">
              <a:xfrm>
                <a:off x="34925" y="5603875"/>
                <a:ext cx="42863" cy="42863"/>
              </a:xfrm>
              <a:custGeom>
                <a:avLst/>
                <a:gdLst>
                  <a:gd name="T0" fmla="*/ 80 w 160"/>
                  <a:gd name="T1" fmla="*/ 160 h 160"/>
                  <a:gd name="T2" fmla="*/ 64 w 160"/>
                  <a:gd name="T3" fmla="*/ 144 h 160"/>
                  <a:gd name="T4" fmla="*/ 80 w 160"/>
                  <a:gd name="T5" fmla="*/ 128 h 160"/>
                  <a:gd name="T6" fmla="*/ 128 w 160"/>
                  <a:gd name="T7" fmla="*/ 80 h 160"/>
                  <a:gd name="T8" fmla="*/ 80 w 160"/>
                  <a:gd name="T9" fmla="*/ 32 h 160"/>
                  <a:gd name="T10" fmla="*/ 32 w 160"/>
                  <a:gd name="T11" fmla="*/ 80 h 160"/>
                  <a:gd name="T12" fmla="*/ 16 w 160"/>
                  <a:gd name="T13" fmla="*/ 96 h 160"/>
                  <a:gd name="T14" fmla="*/ 0 w 160"/>
                  <a:gd name="T15" fmla="*/ 80 h 160"/>
                  <a:gd name="T16" fmla="*/ 80 w 160"/>
                  <a:gd name="T17" fmla="*/ 0 h 160"/>
                  <a:gd name="T18" fmla="*/ 160 w 160"/>
                  <a:gd name="T19" fmla="*/ 80 h 160"/>
                  <a:gd name="T20" fmla="*/ 80 w 160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0" h="160">
                    <a:moveTo>
                      <a:pt x="80" y="160"/>
                    </a:moveTo>
                    <a:cubicBezTo>
                      <a:pt x="71" y="160"/>
                      <a:pt x="64" y="153"/>
                      <a:pt x="64" y="144"/>
                    </a:cubicBezTo>
                    <a:cubicBezTo>
                      <a:pt x="64" y="135"/>
                      <a:pt x="71" y="128"/>
                      <a:pt x="80" y="128"/>
                    </a:cubicBezTo>
                    <a:cubicBezTo>
                      <a:pt x="106" y="128"/>
                      <a:pt x="128" y="107"/>
                      <a:pt x="128" y="80"/>
                    </a:cubicBezTo>
                    <a:cubicBezTo>
                      <a:pt x="128" y="54"/>
                      <a:pt x="106" y="32"/>
                      <a:pt x="80" y="32"/>
                    </a:cubicBezTo>
                    <a:cubicBezTo>
                      <a:pt x="54" y="32"/>
                      <a:pt x="32" y="54"/>
                      <a:pt x="32" y="80"/>
                    </a:cubicBezTo>
                    <a:cubicBezTo>
                      <a:pt x="32" y="89"/>
                      <a:pt x="25" y="96"/>
                      <a:pt x="16" y="96"/>
                    </a:cubicBezTo>
                    <a:cubicBezTo>
                      <a:pt x="7" y="96"/>
                      <a:pt x="0" y="89"/>
                      <a:pt x="0" y="80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124" y="0"/>
                      <a:pt x="160" y="36"/>
                      <a:pt x="160" y="80"/>
                    </a:cubicBezTo>
                    <a:cubicBezTo>
                      <a:pt x="160" y="124"/>
                      <a:pt x="124" y="160"/>
                      <a:pt x="80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26"/>
              <p:cNvSpPr>
                <a:spLocks/>
              </p:cNvSpPr>
              <p:nvPr/>
            </p:nvSpPr>
            <p:spPr bwMode="auto">
              <a:xfrm>
                <a:off x="60325" y="5697538"/>
                <a:ext cx="63500" cy="68263"/>
              </a:xfrm>
              <a:custGeom>
                <a:avLst/>
                <a:gdLst>
                  <a:gd name="T0" fmla="*/ 97 w 237"/>
                  <a:gd name="T1" fmla="*/ 256 h 256"/>
                  <a:gd name="T2" fmla="*/ 77 w 237"/>
                  <a:gd name="T3" fmla="*/ 254 h 256"/>
                  <a:gd name="T4" fmla="*/ 64 w 237"/>
                  <a:gd name="T5" fmla="*/ 236 h 256"/>
                  <a:gd name="T6" fmla="*/ 82 w 237"/>
                  <a:gd name="T7" fmla="*/ 223 h 256"/>
                  <a:gd name="T8" fmla="*/ 165 w 237"/>
                  <a:gd name="T9" fmla="*/ 196 h 256"/>
                  <a:gd name="T10" fmla="*/ 165 w 237"/>
                  <a:gd name="T11" fmla="*/ 60 h 256"/>
                  <a:gd name="T12" fmla="*/ 97 w 237"/>
                  <a:gd name="T13" fmla="*/ 32 h 256"/>
                  <a:gd name="T14" fmla="*/ 97 w 237"/>
                  <a:gd name="T15" fmla="*/ 32 h 256"/>
                  <a:gd name="T16" fmla="*/ 29 w 237"/>
                  <a:gd name="T17" fmla="*/ 60 h 256"/>
                  <a:gd name="T18" fmla="*/ 6 w 237"/>
                  <a:gd name="T19" fmla="*/ 60 h 256"/>
                  <a:gd name="T20" fmla="*/ 6 w 237"/>
                  <a:gd name="T21" fmla="*/ 37 h 256"/>
                  <a:gd name="T22" fmla="*/ 97 w 237"/>
                  <a:gd name="T23" fmla="*/ 0 h 256"/>
                  <a:gd name="T24" fmla="*/ 97 w 237"/>
                  <a:gd name="T25" fmla="*/ 0 h 256"/>
                  <a:gd name="T26" fmla="*/ 187 w 237"/>
                  <a:gd name="T27" fmla="*/ 37 h 256"/>
                  <a:gd name="T28" fmla="*/ 187 w 237"/>
                  <a:gd name="T29" fmla="*/ 218 h 256"/>
                  <a:gd name="T30" fmla="*/ 97 w 237"/>
                  <a:gd name="T3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7" h="256">
                    <a:moveTo>
                      <a:pt x="97" y="256"/>
                    </a:moveTo>
                    <a:cubicBezTo>
                      <a:pt x="90" y="256"/>
                      <a:pt x="84" y="255"/>
                      <a:pt x="77" y="254"/>
                    </a:cubicBezTo>
                    <a:cubicBezTo>
                      <a:pt x="68" y="253"/>
                      <a:pt x="63" y="245"/>
                      <a:pt x="64" y="236"/>
                    </a:cubicBezTo>
                    <a:cubicBezTo>
                      <a:pt x="65" y="227"/>
                      <a:pt x="74" y="221"/>
                      <a:pt x="82" y="223"/>
                    </a:cubicBezTo>
                    <a:cubicBezTo>
                      <a:pt x="112" y="228"/>
                      <a:pt x="143" y="217"/>
                      <a:pt x="165" y="196"/>
                    </a:cubicBezTo>
                    <a:cubicBezTo>
                      <a:pt x="202" y="158"/>
                      <a:pt x="202" y="97"/>
                      <a:pt x="165" y="60"/>
                    </a:cubicBezTo>
                    <a:cubicBezTo>
                      <a:pt x="147" y="42"/>
                      <a:pt x="123" y="32"/>
                      <a:pt x="97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71" y="32"/>
                      <a:pt x="47" y="42"/>
                      <a:pt x="29" y="60"/>
                    </a:cubicBezTo>
                    <a:cubicBezTo>
                      <a:pt x="23" y="66"/>
                      <a:pt x="13" y="66"/>
                      <a:pt x="6" y="60"/>
                    </a:cubicBezTo>
                    <a:cubicBezTo>
                      <a:pt x="0" y="54"/>
                      <a:pt x="0" y="44"/>
                      <a:pt x="6" y="37"/>
                    </a:cubicBezTo>
                    <a:cubicBezTo>
                      <a:pt x="31" y="13"/>
                      <a:pt x="63" y="0"/>
                      <a:pt x="97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131" y="0"/>
                      <a:pt x="163" y="13"/>
                      <a:pt x="187" y="37"/>
                    </a:cubicBezTo>
                    <a:cubicBezTo>
                      <a:pt x="237" y="87"/>
                      <a:pt x="237" y="168"/>
                      <a:pt x="187" y="218"/>
                    </a:cubicBezTo>
                    <a:cubicBezTo>
                      <a:pt x="163" y="242"/>
                      <a:pt x="130" y="256"/>
                      <a:pt x="97" y="2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27"/>
              <p:cNvSpPr>
                <a:spLocks noEditPoints="1"/>
              </p:cNvSpPr>
              <p:nvPr/>
            </p:nvSpPr>
            <p:spPr bwMode="auto">
              <a:xfrm>
                <a:off x="-36513" y="5842000"/>
                <a:ext cx="152400" cy="84138"/>
              </a:xfrm>
              <a:custGeom>
                <a:avLst/>
                <a:gdLst>
                  <a:gd name="T0" fmla="*/ 496 w 576"/>
                  <a:gd name="T1" fmla="*/ 319 h 319"/>
                  <a:gd name="T2" fmla="*/ 80 w 576"/>
                  <a:gd name="T3" fmla="*/ 319 h 319"/>
                  <a:gd name="T4" fmla="*/ 69 w 576"/>
                  <a:gd name="T5" fmla="*/ 315 h 319"/>
                  <a:gd name="T6" fmla="*/ 5 w 576"/>
                  <a:gd name="T7" fmla="*/ 251 h 319"/>
                  <a:gd name="T8" fmla="*/ 0 w 576"/>
                  <a:gd name="T9" fmla="*/ 239 h 319"/>
                  <a:gd name="T10" fmla="*/ 0 w 576"/>
                  <a:gd name="T11" fmla="*/ 16 h 319"/>
                  <a:gd name="T12" fmla="*/ 16 w 576"/>
                  <a:gd name="T13" fmla="*/ 0 h 319"/>
                  <a:gd name="T14" fmla="*/ 560 w 576"/>
                  <a:gd name="T15" fmla="*/ 0 h 319"/>
                  <a:gd name="T16" fmla="*/ 576 w 576"/>
                  <a:gd name="T17" fmla="*/ 16 h 319"/>
                  <a:gd name="T18" fmla="*/ 576 w 576"/>
                  <a:gd name="T19" fmla="*/ 239 h 319"/>
                  <a:gd name="T20" fmla="*/ 571 w 576"/>
                  <a:gd name="T21" fmla="*/ 251 h 319"/>
                  <a:gd name="T22" fmla="*/ 507 w 576"/>
                  <a:gd name="T23" fmla="*/ 315 h 319"/>
                  <a:gd name="T24" fmla="*/ 496 w 576"/>
                  <a:gd name="T25" fmla="*/ 319 h 319"/>
                  <a:gd name="T26" fmla="*/ 87 w 576"/>
                  <a:gd name="T27" fmla="*/ 287 h 319"/>
                  <a:gd name="T28" fmla="*/ 489 w 576"/>
                  <a:gd name="T29" fmla="*/ 287 h 319"/>
                  <a:gd name="T30" fmla="*/ 544 w 576"/>
                  <a:gd name="T31" fmla="*/ 233 h 319"/>
                  <a:gd name="T32" fmla="*/ 544 w 576"/>
                  <a:gd name="T33" fmla="*/ 32 h 319"/>
                  <a:gd name="T34" fmla="*/ 32 w 576"/>
                  <a:gd name="T35" fmla="*/ 32 h 319"/>
                  <a:gd name="T36" fmla="*/ 32 w 576"/>
                  <a:gd name="T37" fmla="*/ 233 h 319"/>
                  <a:gd name="T38" fmla="*/ 87 w 576"/>
                  <a:gd name="T39" fmla="*/ 287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76" h="319">
                    <a:moveTo>
                      <a:pt x="496" y="319"/>
                    </a:moveTo>
                    <a:cubicBezTo>
                      <a:pt x="80" y="319"/>
                      <a:pt x="80" y="319"/>
                      <a:pt x="80" y="319"/>
                    </a:cubicBezTo>
                    <a:cubicBezTo>
                      <a:pt x="76" y="319"/>
                      <a:pt x="72" y="318"/>
                      <a:pt x="69" y="315"/>
                    </a:cubicBezTo>
                    <a:cubicBezTo>
                      <a:pt x="5" y="251"/>
                      <a:pt x="5" y="251"/>
                      <a:pt x="5" y="251"/>
                    </a:cubicBezTo>
                    <a:cubicBezTo>
                      <a:pt x="2" y="248"/>
                      <a:pt x="0" y="244"/>
                      <a:pt x="0" y="2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560" y="0"/>
                      <a:pt x="560" y="0"/>
                      <a:pt x="560" y="0"/>
                    </a:cubicBezTo>
                    <a:cubicBezTo>
                      <a:pt x="569" y="0"/>
                      <a:pt x="576" y="7"/>
                      <a:pt x="576" y="16"/>
                    </a:cubicBezTo>
                    <a:cubicBezTo>
                      <a:pt x="576" y="239"/>
                      <a:pt x="576" y="239"/>
                      <a:pt x="576" y="239"/>
                    </a:cubicBezTo>
                    <a:cubicBezTo>
                      <a:pt x="576" y="244"/>
                      <a:pt x="574" y="248"/>
                      <a:pt x="571" y="251"/>
                    </a:cubicBezTo>
                    <a:cubicBezTo>
                      <a:pt x="507" y="315"/>
                      <a:pt x="507" y="315"/>
                      <a:pt x="507" y="315"/>
                    </a:cubicBezTo>
                    <a:cubicBezTo>
                      <a:pt x="504" y="318"/>
                      <a:pt x="500" y="319"/>
                      <a:pt x="496" y="319"/>
                    </a:cubicBezTo>
                    <a:close/>
                    <a:moveTo>
                      <a:pt x="87" y="287"/>
                    </a:moveTo>
                    <a:cubicBezTo>
                      <a:pt x="489" y="287"/>
                      <a:pt x="489" y="287"/>
                      <a:pt x="489" y="287"/>
                    </a:cubicBezTo>
                    <a:cubicBezTo>
                      <a:pt x="544" y="233"/>
                      <a:pt x="544" y="233"/>
                      <a:pt x="544" y="233"/>
                    </a:cubicBezTo>
                    <a:cubicBezTo>
                      <a:pt x="544" y="32"/>
                      <a:pt x="544" y="32"/>
                      <a:pt x="544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233"/>
                      <a:pt x="32" y="233"/>
                      <a:pt x="32" y="233"/>
                    </a:cubicBezTo>
                    <a:lnTo>
                      <a:pt x="87" y="2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28"/>
              <p:cNvSpPr>
                <a:spLocks/>
              </p:cNvSpPr>
              <p:nvPr/>
            </p:nvSpPr>
            <p:spPr bwMode="auto">
              <a:xfrm>
                <a:off x="-44450" y="58578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3 h 64"/>
                  <a:gd name="T6" fmla="*/ 623 w 640"/>
                  <a:gd name="T7" fmla="*/ 1 h 64"/>
                  <a:gd name="T8" fmla="*/ 640 w 640"/>
                  <a:gd name="T9" fmla="*/ 16 h 64"/>
                  <a:gd name="T10" fmla="*/ 625 w 640"/>
                  <a:gd name="T11" fmla="*/ 33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1"/>
                      <a:pt x="7" y="33"/>
                      <a:pt x="15" y="33"/>
                    </a:cubicBezTo>
                    <a:cubicBezTo>
                      <a:pt x="623" y="1"/>
                      <a:pt x="623" y="1"/>
                      <a:pt x="623" y="1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5"/>
                      <a:pt x="633" y="32"/>
                      <a:pt x="625" y="33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29"/>
              <p:cNvSpPr>
                <a:spLocks/>
              </p:cNvSpPr>
              <p:nvPr/>
            </p:nvSpPr>
            <p:spPr bwMode="auto">
              <a:xfrm>
                <a:off x="-44450" y="5883275"/>
                <a:ext cx="169863" cy="17463"/>
              </a:xfrm>
              <a:custGeom>
                <a:avLst/>
                <a:gdLst>
                  <a:gd name="T0" fmla="*/ 16 w 640"/>
                  <a:gd name="T1" fmla="*/ 64 h 64"/>
                  <a:gd name="T2" fmla="*/ 0 w 640"/>
                  <a:gd name="T3" fmla="*/ 49 h 64"/>
                  <a:gd name="T4" fmla="*/ 15 w 640"/>
                  <a:gd name="T5" fmla="*/ 32 h 64"/>
                  <a:gd name="T6" fmla="*/ 623 w 640"/>
                  <a:gd name="T7" fmla="*/ 0 h 64"/>
                  <a:gd name="T8" fmla="*/ 640 w 640"/>
                  <a:gd name="T9" fmla="*/ 16 h 64"/>
                  <a:gd name="T10" fmla="*/ 625 w 640"/>
                  <a:gd name="T11" fmla="*/ 32 h 64"/>
                  <a:gd name="T12" fmla="*/ 17 w 640"/>
                  <a:gd name="T13" fmla="*/ 64 h 64"/>
                  <a:gd name="T14" fmla="*/ 16 w 64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0" h="64">
                    <a:moveTo>
                      <a:pt x="16" y="64"/>
                    </a:moveTo>
                    <a:cubicBezTo>
                      <a:pt x="8" y="64"/>
                      <a:pt x="1" y="58"/>
                      <a:pt x="0" y="49"/>
                    </a:cubicBezTo>
                    <a:cubicBezTo>
                      <a:pt x="0" y="40"/>
                      <a:pt x="7" y="33"/>
                      <a:pt x="15" y="32"/>
                    </a:cubicBezTo>
                    <a:cubicBezTo>
                      <a:pt x="623" y="0"/>
                      <a:pt x="623" y="0"/>
                      <a:pt x="623" y="0"/>
                    </a:cubicBezTo>
                    <a:cubicBezTo>
                      <a:pt x="632" y="0"/>
                      <a:pt x="639" y="7"/>
                      <a:pt x="640" y="16"/>
                    </a:cubicBezTo>
                    <a:cubicBezTo>
                      <a:pt x="640" y="24"/>
                      <a:pt x="633" y="32"/>
                      <a:pt x="625" y="32"/>
                    </a:cubicBezTo>
                    <a:cubicBezTo>
                      <a:pt x="17" y="64"/>
                      <a:pt x="17" y="64"/>
                      <a:pt x="17" y="64"/>
                    </a:cubicBezTo>
                    <a:cubicBezTo>
                      <a:pt x="17" y="64"/>
                      <a:pt x="17" y="64"/>
                      <a:pt x="16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30"/>
              <p:cNvSpPr>
                <a:spLocks noEditPoints="1"/>
              </p:cNvSpPr>
              <p:nvPr/>
            </p:nvSpPr>
            <p:spPr bwMode="auto">
              <a:xfrm>
                <a:off x="-104775" y="5553075"/>
                <a:ext cx="288925" cy="296863"/>
              </a:xfrm>
              <a:custGeom>
                <a:avLst/>
                <a:gdLst>
                  <a:gd name="T0" fmla="*/ 816 w 1088"/>
                  <a:gd name="T1" fmla="*/ 1120 h 1120"/>
                  <a:gd name="T2" fmla="*/ 272 w 1088"/>
                  <a:gd name="T3" fmla="*/ 1120 h 1120"/>
                  <a:gd name="T4" fmla="*/ 256 w 1088"/>
                  <a:gd name="T5" fmla="*/ 1104 h 1120"/>
                  <a:gd name="T6" fmla="*/ 256 w 1088"/>
                  <a:gd name="T7" fmla="*/ 1004 h 1120"/>
                  <a:gd name="T8" fmla="*/ 0 w 1088"/>
                  <a:gd name="T9" fmla="*/ 544 h 1120"/>
                  <a:gd name="T10" fmla="*/ 544 w 1088"/>
                  <a:gd name="T11" fmla="*/ 0 h 1120"/>
                  <a:gd name="T12" fmla="*/ 1088 w 1088"/>
                  <a:gd name="T13" fmla="*/ 544 h 1120"/>
                  <a:gd name="T14" fmla="*/ 832 w 1088"/>
                  <a:gd name="T15" fmla="*/ 1004 h 1120"/>
                  <a:gd name="T16" fmla="*/ 832 w 1088"/>
                  <a:gd name="T17" fmla="*/ 1104 h 1120"/>
                  <a:gd name="T18" fmla="*/ 816 w 1088"/>
                  <a:gd name="T19" fmla="*/ 1120 h 1120"/>
                  <a:gd name="T20" fmla="*/ 288 w 1088"/>
                  <a:gd name="T21" fmla="*/ 1088 h 1120"/>
                  <a:gd name="T22" fmla="*/ 800 w 1088"/>
                  <a:gd name="T23" fmla="*/ 1088 h 1120"/>
                  <a:gd name="T24" fmla="*/ 800 w 1088"/>
                  <a:gd name="T25" fmla="*/ 996 h 1120"/>
                  <a:gd name="T26" fmla="*/ 808 w 1088"/>
                  <a:gd name="T27" fmla="*/ 982 h 1120"/>
                  <a:gd name="T28" fmla="*/ 1056 w 1088"/>
                  <a:gd name="T29" fmla="*/ 544 h 1120"/>
                  <a:gd name="T30" fmla="*/ 544 w 1088"/>
                  <a:gd name="T31" fmla="*/ 32 h 1120"/>
                  <a:gd name="T32" fmla="*/ 32 w 1088"/>
                  <a:gd name="T33" fmla="*/ 544 h 1120"/>
                  <a:gd name="T34" fmla="*/ 280 w 1088"/>
                  <a:gd name="T35" fmla="*/ 982 h 1120"/>
                  <a:gd name="T36" fmla="*/ 288 w 1088"/>
                  <a:gd name="T37" fmla="*/ 996 h 1120"/>
                  <a:gd name="T38" fmla="*/ 288 w 1088"/>
                  <a:gd name="T39" fmla="*/ 1088 h 1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88" h="1120">
                    <a:moveTo>
                      <a:pt x="816" y="1120"/>
                    </a:moveTo>
                    <a:cubicBezTo>
                      <a:pt x="272" y="1120"/>
                      <a:pt x="272" y="1120"/>
                      <a:pt x="272" y="1120"/>
                    </a:cubicBezTo>
                    <a:cubicBezTo>
                      <a:pt x="263" y="1120"/>
                      <a:pt x="256" y="1112"/>
                      <a:pt x="256" y="1104"/>
                    </a:cubicBezTo>
                    <a:cubicBezTo>
                      <a:pt x="256" y="1004"/>
                      <a:pt x="256" y="1004"/>
                      <a:pt x="256" y="1004"/>
                    </a:cubicBezTo>
                    <a:cubicBezTo>
                      <a:pt x="96" y="904"/>
                      <a:pt x="0" y="733"/>
                      <a:pt x="0" y="544"/>
                    </a:cubicBezTo>
                    <a:cubicBezTo>
                      <a:pt x="0" y="244"/>
                      <a:pt x="244" y="0"/>
                      <a:pt x="544" y="0"/>
                    </a:cubicBezTo>
                    <a:cubicBezTo>
                      <a:pt x="844" y="0"/>
                      <a:pt x="1088" y="244"/>
                      <a:pt x="1088" y="544"/>
                    </a:cubicBezTo>
                    <a:cubicBezTo>
                      <a:pt x="1088" y="733"/>
                      <a:pt x="992" y="904"/>
                      <a:pt x="832" y="1004"/>
                    </a:cubicBezTo>
                    <a:cubicBezTo>
                      <a:pt x="832" y="1104"/>
                      <a:pt x="832" y="1104"/>
                      <a:pt x="832" y="1104"/>
                    </a:cubicBezTo>
                    <a:cubicBezTo>
                      <a:pt x="832" y="1112"/>
                      <a:pt x="825" y="1120"/>
                      <a:pt x="816" y="1120"/>
                    </a:cubicBezTo>
                    <a:close/>
                    <a:moveTo>
                      <a:pt x="288" y="1088"/>
                    </a:moveTo>
                    <a:cubicBezTo>
                      <a:pt x="800" y="1088"/>
                      <a:pt x="800" y="1088"/>
                      <a:pt x="800" y="1088"/>
                    </a:cubicBezTo>
                    <a:cubicBezTo>
                      <a:pt x="800" y="996"/>
                      <a:pt x="800" y="996"/>
                      <a:pt x="800" y="996"/>
                    </a:cubicBezTo>
                    <a:cubicBezTo>
                      <a:pt x="800" y="990"/>
                      <a:pt x="803" y="985"/>
                      <a:pt x="808" y="982"/>
                    </a:cubicBezTo>
                    <a:cubicBezTo>
                      <a:pt x="963" y="888"/>
                      <a:pt x="1056" y="725"/>
                      <a:pt x="1056" y="544"/>
                    </a:cubicBezTo>
                    <a:cubicBezTo>
                      <a:pt x="1056" y="262"/>
                      <a:pt x="826" y="32"/>
                      <a:pt x="544" y="32"/>
                    </a:cubicBezTo>
                    <a:cubicBezTo>
                      <a:pt x="262" y="32"/>
                      <a:pt x="32" y="262"/>
                      <a:pt x="32" y="544"/>
                    </a:cubicBezTo>
                    <a:cubicBezTo>
                      <a:pt x="32" y="724"/>
                      <a:pt x="125" y="888"/>
                      <a:pt x="280" y="982"/>
                    </a:cubicBezTo>
                    <a:cubicBezTo>
                      <a:pt x="285" y="985"/>
                      <a:pt x="288" y="990"/>
                      <a:pt x="288" y="996"/>
                    </a:cubicBezTo>
                    <a:cubicBezTo>
                      <a:pt x="288" y="1088"/>
                      <a:pt x="288" y="1088"/>
                      <a:pt x="288" y="10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31"/>
              <p:cNvSpPr>
                <a:spLocks/>
              </p:cNvSpPr>
              <p:nvPr/>
            </p:nvSpPr>
            <p:spPr bwMode="auto">
              <a:xfrm>
                <a:off x="-3175" y="5916613"/>
                <a:ext cx="85725" cy="26988"/>
              </a:xfrm>
              <a:custGeom>
                <a:avLst/>
                <a:gdLst>
                  <a:gd name="T0" fmla="*/ 162 w 324"/>
                  <a:gd name="T1" fmla="*/ 98 h 98"/>
                  <a:gd name="T2" fmla="*/ 4 w 324"/>
                  <a:gd name="T3" fmla="*/ 26 h 98"/>
                  <a:gd name="T4" fmla="*/ 11 w 324"/>
                  <a:gd name="T5" fmla="*/ 4 h 98"/>
                  <a:gd name="T6" fmla="*/ 32 w 324"/>
                  <a:gd name="T7" fmla="*/ 11 h 98"/>
                  <a:gd name="T8" fmla="*/ 162 w 324"/>
                  <a:gd name="T9" fmla="*/ 66 h 98"/>
                  <a:gd name="T10" fmla="*/ 292 w 324"/>
                  <a:gd name="T11" fmla="*/ 11 h 98"/>
                  <a:gd name="T12" fmla="*/ 313 w 324"/>
                  <a:gd name="T13" fmla="*/ 4 h 98"/>
                  <a:gd name="T14" fmla="*/ 320 w 324"/>
                  <a:gd name="T15" fmla="*/ 26 h 98"/>
                  <a:gd name="T16" fmla="*/ 162 w 324"/>
                  <a:gd name="T17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98">
                    <a:moveTo>
                      <a:pt x="162" y="98"/>
                    </a:moveTo>
                    <a:cubicBezTo>
                      <a:pt x="42" y="98"/>
                      <a:pt x="5" y="28"/>
                      <a:pt x="4" y="26"/>
                    </a:cubicBezTo>
                    <a:cubicBezTo>
                      <a:pt x="0" y="18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4" y="13"/>
                      <a:pt x="63" y="66"/>
                      <a:pt x="162" y="66"/>
                    </a:cubicBezTo>
                    <a:cubicBezTo>
                      <a:pt x="261" y="66"/>
                      <a:pt x="290" y="13"/>
                      <a:pt x="292" y="11"/>
                    </a:cubicBezTo>
                    <a:cubicBezTo>
                      <a:pt x="296" y="3"/>
                      <a:pt x="305" y="0"/>
                      <a:pt x="313" y="4"/>
                    </a:cubicBezTo>
                    <a:cubicBezTo>
                      <a:pt x="321" y="8"/>
                      <a:pt x="324" y="18"/>
                      <a:pt x="320" y="26"/>
                    </a:cubicBezTo>
                    <a:cubicBezTo>
                      <a:pt x="319" y="28"/>
                      <a:pt x="282" y="98"/>
                      <a:pt x="16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32"/>
              <p:cNvSpPr>
                <a:spLocks/>
              </p:cNvSpPr>
              <p:nvPr/>
            </p:nvSpPr>
            <p:spPr bwMode="auto">
              <a:xfrm>
                <a:off x="-231775" y="5692775"/>
                <a:ext cx="93663" cy="9525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33"/>
              <p:cNvSpPr>
                <a:spLocks/>
              </p:cNvSpPr>
              <p:nvPr/>
            </p:nvSpPr>
            <p:spPr bwMode="auto">
              <a:xfrm>
                <a:off x="217488" y="5692775"/>
                <a:ext cx="93663" cy="9525"/>
              </a:xfrm>
              <a:custGeom>
                <a:avLst/>
                <a:gdLst>
                  <a:gd name="T0" fmla="*/ 335 w 351"/>
                  <a:gd name="T1" fmla="*/ 32 h 32"/>
                  <a:gd name="T2" fmla="*/ 16 w 351"/>
                  <a:gd name="T3" fmla="*/ 32 h 32"/>
                  <a:gd name="T4" fmla="*/ 0 w 351"/>
                  <a:gd name="T5" fmla="*/ 16 h 32"/>
                  <a:gd name="T6" fmla="*/ 16 w 351"/>
                  <a:gd name="T7" fmla="*/ 0 h 32"/>
                  <a:gd name="T8" fmla="*/ 335 w 351"/>
                  <a:gd name="T9" fmla="*/ 0 h 32"/>
                  <a:gd name="T10" fmla="*/ 351 w 351"/>
                  <a:gd name="T11" fmla="*/ 16 h 32"/>
                  <a:gd name="T12" fmla="*/ 335 w 35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1" h="32">
                    <a:moveTo>
                      <a:pt x="335" y="32"/>
                    </a:moveTo>
                    <a:cubicBezTo>
                      <a:pt x="16" y="32"/>
                      <a:pt x="16" y="32"/>
                      <a:pt x="16" y="32"/>
                    </a:cubicBezTo>
                    <a:cubicBezTo>
                      <a:pt x="7" y="32"/>
                      <a:pt x="0" y="25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335" y="0"/>
                      <a:pt x="335" y="0"/>
                      <a:pt x="335" y="0"/>
                    </a:cubicBezTo>
                    <a:cubicBezTo>
                      <a:pt x="344" y="0"/>
                      <a:pt x="351" y="7"/>
                      <a:pt x="351" y="16"/>
                    </a:cubicBezTo>
                    <a:cubicBezTo>
                      <a:pt x="351" y="25"/>
                      <a:pt x="344" y="32"/>
                      <a:pt x="33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34"/>
              <p:cNvSpPr>
                <a:spLocks/>
              </p:cNvSpPr>
              <p:nvPr/>
            </p:nvSpPr>
            <p:spPr bwMode="auto">
              <a:xfrm>
                <a:off x="-196850" y="5783263"/>
                <a:ext cx="84138" cy="52388"/>
              </a:xfrm>
              <a:custGeom>
                <a:avLst/>
                <a:gdLst>
                  <a:gd name="T0" fmla="*/ 19 w 314"/>
                  <a:gd name="T1" fmla="*/ 195 h 195"/>
                  <a:gd name="T2" fmla="*/ 5 w 314"/>
                  <a:gd name="T3" fmla="*/ 187 h 195"/>
                  <a:gd name="T4" fmla="*/ 11 w 314"/>
                  <a:gd name="T5" fmla="*/ 165 h 195"/>
                  <a:gd name="T6" fmla="*/ 288 w 314"/>
                  <a:gd name="T7" fmla="*/ 5 h 195"/>
                  <a:gd name="T8" fmla="*/ 309 w 314"/>
                  <a:gd name="T9" fmla="*/ 11 h 195"/>
                  <a:gd name="T10" fmla="*/ 304 w 314"/>
                  <a:gd name="T11" fmla="*/ 33 h 195"/>
                  <a:gd name="T12" fmla="*/ 27 w 314"/>
                  <a:gd name="T13" fmla="*/ 192 h 195"/>
                  <a:gd name="T14" fmla="*/ 19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19" y="195"/>
                    </a:moveTo>
                    <a:cubicBezTo>
                      <a:pt x="13" y="195"/>
                      <a:pt x="8" y="192"/>
                      <a:pt x="5" y="187"/>
                    </a:cubicBezTo>
                    <a:cubicBezTo>
                      <a:pt x="0" y="179"/>
                      <a:pt x="3" y="169"/>
                      <a:pt x="11" y="165"/>
                    </a:cubicBezTo>
                    <a:cubicBezTo>
                      <a:pt x="288" y="5"/>
                      <a:pt x="288" y="5"/>
                      <a:pt x="288" y="5"/>
                    </a:cubicBezTo>
                    <a:cubicBezTo>
                      <a:pt x="295" y="0"/>
                      <a:pt x="305" y="3"/>
                      <a:pt x="309" y="11"/>
                    </a:cubicBezTo>
                    <a:cubicBezTo>
                      <a:pt x="314" y="18"/>
                      <a:pt x="311" y="28"/>
                      <a:pt x="304" y="33"/>
                    </a:cubicBezTo>
                    <a:cubicBezTo>
                      <a:pt x="27" y="192"/>
                      <a:pt x="27" y="192"/>
                      <a:pt x="27" y="192"/>
                    </a:cubicBezTo>
                    <a:cubicBezTo>
                      <a:pt x="24" y="194"/>
                      <a:pt x="21" y="195"/>
                      <a:pt x="19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35"/>
              <p:cNvSpPr>
                <a:spLocks/>
              </p:cNvSpPr>
              <p:nvPr/>
            </p:nvSpPr>
            <p:spPr bwMode="auto">
              <a:xfrm>
                <a:off x="193675" y="5559425"/>
                <a:ext cx="82550" cy="50800"/>
              </a:xfrm>
              <a:custGeom>
                <a:avLst/>
                <a:gdLst>
                  <a:gd name="T0" fmla="*/ 18 w 314"/>
                  <a:gd name="T1" fmla="*/ 194 h 194"/>
                  <a:gd name="T2" fmla="*/ 5 w 314"/>
                  <a:gd name="T3" fmla="*/ 186 h 194"/>
                  <a:gd name="T4" fmla="*/ 10 w 314"/>
                  <a:gd name="T5" fmla="*/ 164 h 194"/>
                  <a:gd name="T6" fmla="*/ 287 w 314"/>
                  <a:gd name="T7" fmla="*/ 4 h 194"/>
                  <a:gd name="T8" fmla="*/ 309 w 314"/>
                  <a:gd name="T9" fmla="*/ 10 h 194"/>
                  <a:gd name="T10" fmla="*/ 303 w 314"/>
                  <a:gd name="T11" fmla="*/ 32 h 194"/>
                  <a:gd name="T12" fmla="*/ 26 w 314"/>
                  <a:gd name="T13" fmla="*/ 192 h 194"/>
                  <a:gd name="T14" fmla="*/ 18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18" y="194"/>
                    </a:moveTo>
                    <a:cubicBezTo>
                      <a:pt x="13" y="194"/>
                      <a:pt x="8" y="191"/>
                      <a:pt x="5" y="186"/>
                    </a:cubicBezTo>
                    <a:cubicBezTo>
                      <a:pt x="0" y="179"/>
                      <a:pt x="3" y="169"/>
                      <a:pt x="10" y="164"/>
                    </a:cubicBezTo>
                    <a:cubicBezTo>
                      <a:pt x="287" y="4"/>
                      <a:pt x="287" y="4"/>
                      <a:pt x="287" y="4"/>
                    </a:cubicBezTo>
                    <a:cubicBezTo>
                      <a:pt x="295" y="0"/>
                      <a:pt x="305" y="3"/>
                      <a:pt x="309" y="10"/>
                    </a:cubicBezTo>
                    <a:cubicBezTo>
                      <a:pt x="314" y="18"/>
                      <a:pt x="311" y="28"/>
                      <a:pt x="303" y="32"/>
                    </a:cubicBezTo>
                    <a:cubicBezTo>
                      <a:pt x="26" y="192"/>
                      <a:pt x="26" y="192"/>
                      <a:pt x="26" y="192"/>
                    </a:cubicBezTo>
                    <a:cubicBezTo>
                      <a:pt x="24" y="194"/>
                      <a:pt x="21" y="194"/>
                      <a:pt x="18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36"/>
              <p:cNvSpPr>
                <a:spLocks/>
              </p:cNvSpPr>
              <p:nvPr/>
            </p:nvSpPr>
            <p:spPr bwMode="auto">
              <a:xfrm>
                <a:off x="127000" y="5461000"/>
                <a:ext cx="50800" cy="82550"/>
              </a:xfrm>
              <a:custGeom>
                <a:avLst/>
                <a:gdLst>
                  <a:gd name="T0" fmla="*/ 18 w 196"/>
                  <a:gd name="T1" fmla="*/ 312 h 312"/>
                  <a:gd name="T2" fmla="*/ 10 w 196"/>
                  <a:gd name="T3" fmla="*/ 309 h 312"/>
                  <a:gd name="T4" fmla="*/ 4 w 196"/>
                  <a:gd name="T5" fmla="*/ 288 h 312"/>
                  <a:gd name="T6" fmla="*/ 164 w 196"/>
                  <a:gd name="T7" fmla="*/ 11 h 312"/>
                  <a:gd name="T8" fmla="*/ 186 w 196"/>
                  <a:gd name="T9" fmla="*/ 5 h 312"/>
                  <a:gd name="T10" fmla="*/ 191 w 196"/>
                  <a:gd name="T11" fmla="*/ 27 h 312"/>
                  <a:gd name="T12" fmla="*/ 32 w 196"/>
                  <a:gd name="T13" fmla="*/ 304 h 312"/>
                  <a:gd name="T14" fmla="*/ 18 w 196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6" h="312">
                    <a:moveTo>
                      <a:pt x="18" y="312"/>
                    </a:moveTo>
                    <a:cubicBezTo>
                      <a:pt x="15" y="312"/>
                      <a:pt x="12" y="311"/>
                      <a:pt x="10" y="309"/>
                    </a:cubicBezTo>
                    <a:cubicBezTo>
                      <a:pt x="2" y="305"/>
                      <a:pt x="0" y="295"/>
                      <a:pt x="4" y="288"/>
                    </a:cubicBezTo>
                    <a:cubicBezTo>
                      <a:pt x="164" y="11"/>
                      <a:pt x="164" y="11"/>
                      <a:pt x="164" y="11"/>
                    </a:cubicBezTo>
                    <a:cubicBezTo>
                      <a:pt x="168" y="3"/>
                      <a:pt x="178" y="0"/>
                      <a:pt x="186" y="5"/>
                    </a:cubicBezTo>
                    <a:cubicBezTo>
                      <a:pt x="193" y="9"/>
                      <a:pt x="196" y="19"/>
                      <a:pt x="191" y="27"/>
                    </a:cubicBezTo>
                    <a:cubicBezTo>
                      <a:pt x="32" y="304"/>
                      <a:pt x="32" y="304"/>
                      <a:pt x="32" y="304"/>
                    </a:cubicBezTo>
                    <a:cubicBezTo>
                      <a:pt x="29" y="309"/>
                      <a:pt x="23" y="312"/>
                      <a:pt x="1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37"/>
              <p:cNvSpPr>
                <a:spLocks/>
              </p:cNvSpPr>
              <p:nvPr/>
            </p:nvSpPr>
            <p:spPr bwMode="auto">
              <a:xfrm>
                <a:off x="34925" y="5426075"/>
                <a:ext cx="9525" cy="93663"/>
              </a:xfrm>
              <a:custGeom>
                <a:avLst/>
                <a:gdLst>
                  <a:gd name="T0" fmla="*/ 16 w 32"/>
                  <a:gd name="T1" fmla="*/ 351 h 351"/>
                  <a:gd name="T2" fmla="*/ 0 w 32"/>
                  <a:gd name="T3" fmla="*/ 335 h 351"/>
                  <a:gd name="T4" fmla="*/ 0 w 32"/>
                  <a:gd name="T5" fmla="*/ 16 h 351"/>
                  <a:gd name="T6" fmla="*/ 16 w 32"/>
                  <a:gd name="T7" fmla="*/ 0 h 351"/>
                  <a:gd name="T8" fmla="*/ 32 w 32"/>
                  <a:gd name="T9" fmla="*/ 16 h 351"/>
                  <a:gd name="T10" fmla="*/ 32 w 32"/>
                  <a:gd name="T11" fmla="*/ 335 h 351"/>
                  <a:gd name="T12" fmla="*/ 16 w 32"/>
                  <a:gd name="T13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351">
                    <a:moveTo>
                      <a:pt x="16" y="351"/>
                    </a:moveTo>
                    <a:cubicBezTo>
                      <a:pt x="7" y="351"/>
                      <a:pt x="0" y="344"/>
                      <a:pt x="0" y="33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335"/>
                      <a:pt x="32" y="335"/>
                      <a:pt x="32" y="335"/>
                    </a:cubicBezTo>
                    <a:cubicBezTo>
                      <a:pt x="32" y="344"/>
                      <a:pt x="25" y="351"/>
                      <a:pt x="16" y="3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38"/>
              <p:cNvSpPr>
                <a:spLocks/>
              </p:cNvSpPr>
              <p:nvPr/>
            </p:nvSpPr>
            <p:spPr bwMode="auto">
              <a:xfrm>
                <a:off x="-98425" y="5461000"/>
                <a:ext cx="52388" cy="82550"/>
              </a:xfrm>
              <a:custGeom>
                <a:avLst/>
                <a:gdLst>
                  <a:gd name="T0" fmla="*/ 178 w 197"/>
                  <a:gd name="T1" fmla="*/ 312 h 312"/>
                  <a:gd name="T2" fmla="*/ 164 w 197"/>
                  <a:gd name="T3" fmla="*/ 304 h 312"/>
                  <a:gd name="T4" fmla="*/ 5 w 197"/>
                  <a:gd name="T5" fmla="*/ 27 h 312"/>
                  <a:gd name="T6" fmla="*/ 10 w 197"/>
                  <a:gd name="T7" fmla="*/ 5 h 312"/>
                  <a:gd name="T8" fmla="*/ 32 w 197"/>
                  <a:gd name="T9" fmla="*/ 11 h 312"/>
                  <a:gd name="T10" fmla="*/ 192 w 197"/>
                  <a:gd name="T11" fmla="*/ 288 h 312"/>
                  <a:gd name="T12" fmla="*/ 186 w 197"/>
                  <a:gd name="T13" fmla="*/ 309 h 312"/>
                  <a:gd name="T14" fmla="*/ 178 w 197"/>
                  <a:gd name="T15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7" h="312">
                    <a:moveTo>
                      <a:pt x="178" y="312"/>
                    </a:moveTo>
                    <a:cubicBezTo>
                      <a:pt x="173" y="312"/>
                      <a:pt x="167" y="309"/>
                      <a:pt x="164" y="304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19"/>
                      <a:pt x="3" y="9"/>
                      <a:pt x="10" y="5"/>
                    </a:cubicBezTo>
                    <a:cubicBezTo>
                      <a:pt x="18" y="0"/>
                      <a:pt x="28" y="3"/>
                      <a:pt x="32" y="11"/>
                    </a:cubicBezTo>
                    <a:cubicBezTo>
                      <a:pt x="192" y="288"/>
                      <a:pt x="192" y="288"/>
                      <a:pt x="192" y="288"/>
                    </a:cubicBezTo>
                    <a:cubicBezTo>
                      <a:pt x="197" y="295"/>
                      <a:pt x="194" y="305"/>
                      <a:pt x="186" y="309"/>
                    </a:cubicBezTo>
                    <a:cubicBezTo>
                      <a:pt x="184" y="311"/>
                      <a:pt x="181" y="312"/>
                      <a:pt x="178" y="3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39"/>
              <p:cNvSpPr>
                <a:spLocks/>
              </p:cNvSpPr>
              <p:nvPr/>
            </p:nvSpPr>
            <p:spPr bwMode="auto">
              <a:xfrm>
                <a:off x="193675" y="5783263"/>
                <a:ext cx="82550" cy="52388"/>
              </a:xfrm>
              <a:custGeom>
                <a:avLst/>
                <a:gdLst>
                  <a:gd name="T0" fmla="*/ 295 w 314"/>
                  <a:gd name="T1" fmla="*/ 195 h 195"/>
                  <a:gd name="T2" fmla="*/ 287 w 314"/>
                  <a:gd name="T3" fmla="*/ 192 h 195"/>
                  <a:gd name="T4" fmla="*/ 10 w 314"/>
                  <a:gd name="T5" fmla="*/ 33 h 195"/>
                  <a:gd name="T6" fmla="*/ 5 w 314"/>
                  <a:gd name="T7" fmla="*/ 11 h 195"/>
                  <a:gd name="T8" fmla="*/ 26 w 314"/>
                  <a:gd name="T9" fmla="*/ 5 h 195"/>
                  <a:gd name="T10" fmla="*/ 303 w 314"/>
                  <a:gd name="T11" fmla="*/ 165 h 195"/>
                  <a:gd name="T12" fmla="*/ 309 w 314"/>
                  <a:gd name="T13" fmla="*/ 187 h 195"/>
                  <a:gd name="T14" fmla="*/ 295 w 314"/>
                  <a:gd name="T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5">
                    <a:moveTo>
                      <a:pt x="295" y="195"/>
                    </a:moveTo>
                    <a:cubicBezTo>
                      <a:pt x="293" y="195"/>
                      <a:pt x="290" y="194"/>
                      <a:pt x="287" y="192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3" y="28"/>
                      <a:pt x="0" y="18"/>
                      <a:pt x="5" y="11"/>
                    </a:cubicBezTo>
                    <a:cubicBezTo>
                      <a:pt x="9" y="3"/>
                      <a:pt x="19" y="0"/>
                      <a:pt x="26" y="5"/>
                    </a:cubicBezTo>
                    <a:cubicBezTo>
                      <a:pt x="303" y="165"/>
                      <a:pt x="303" y="165"/>
                      <a:pt x="303" y="165"/>
                    </a:cubicBezTo>
                    <a:cubicBezTo>
                      <a:pt x="311" y="169"/>
                      <a:pt x="314" y="179"/>
                      <a:pt x="309" y="187"/>
                    </a:cubicBezTo>
                    <a:cubicBezTo>
                      <a:pt x="306" y="192"/>
                      <a:pt x="301" y="195"/>
                      <a:pt x="295" y="1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40"/>
              <p:cNvSpPr>
                <a:spLocks/>
              </p:cNvSpPr>
              <p:nvPr/>
            </p:nvSpPr>
            <p:spPr bwMode="auto">
              <a:xfrm>
                <a:off x="-196850" y="5559425"/>
                <a:ext cx="84138" cy="50800"/>
              </a:xfrm>
              <a:custGeom>
                <a:avLst/>
                <a:gdLst>
                  <a:gd name="T0" fmla="*/ 296 w 314"/>
                  <a:gd name="T1" fmla="*/ 194 h 194"/>
                  <a:gd name="T2" fmla="*/ 288 w 314"/>
                  <a:gd name="T3" fmla="*/ 192 h 194"/>
                  <a:gd name="T4" fmla="*/ 11 w 314"/>
                  <a:gd name="T5" fmla="*/ 32 h 194"/>
                  <a:gd name="T6" fmla="*/ 5 w 314"/>
                  <a:gd name="T7" fmla="*/ 10 h 194"/>
                  <a:gd name="T8" fmla="*/ 27 w 314"/>
                  <a:gd name="T9" fmla="*/ 4 h 194"/>
                  <a:gd name="T10" fmla="*/ 304 w 314"/>
                  <a:gd name="T11" fmla="*/ 164 h 194"/>
                  <a:gd name="T12" fmla="*/ 309 w 314"/>
                  <a:gd name="T13" fmla="*/ 186 h 194"/>
                  <a:gd name="T14" fmla="*/ 296 w 314"/>
                  <a:gd name="T15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94">
                    <a:moveTo>
                      <a:pt x="296" y="194"/>
                    </a:moveTo>
                    <a:cubicBezTo>
                      <a:pt x="293" y="194"/>
                      <a:pt x="290" y="193"/>
                      <a:pt x="288" y="19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3" y="28"/>
                      <a:pt x="0" y="18"/>
                      <a:pt x="5" y="10"/>
                    </a:cubicBezTo>
                    <a:cubicBezTo>
                      <a:pt x="9" y="3"/>
                      <a:pt x="19" y="0"/>
                      <a:pt x="27" y="4"/>
                    </a:cubicBezTo>
                    <a:cubicBezTo>
                      <a:pt x="304" y="164"/>
                      <a:pt x="304" y="164"/>
                      <a:pt x="304" y="164"/>
                    </a:cubicBezTo>
                    <a:cubicBezTo>
                      <a:pt x="311" y="169"/>
                      <a:pt x="314" y="178"/>
                      <a:pt x="309" y="186"/>
                    </a:cubicBezTo>
                    <a:cubicBezTo>
                      <a:pt x="307" y="191"/>
                      <a:pt x="301" y="194"/>
                      <a:pt x="296" y="1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41"/>
              <p:cNvSpPr>
                <a:spLocks/>
              </p:cNvSpPr>
              <p:nvPr/>
            </p:nvSpPr>
            <p:spPr bwMode="auto">
              <a:xfrm>
                <a:off x="34925" y="5621338"/>
                <a:ext cx="9525" cy="139700"/>
              </a:xfrm>
              <a:custGeom>
                <a:avLst/>
                <a:gdLst>
                  <a:gd name="T0" fmla="*/ 16 w 32"/>
                  <a:gd name="T1" fmla="*/ 529 h 529"/>
                  <a:gd name="T2" fmla="*/ 0 w 32"/>
                  <a:gd name="T3" fmla="*/ 513 h 529"/>
                  <a:gd name="T4" fmla="*/ 0 w 32"/>
                  <a:gd name="T5" fmla="*/ 16 h 529"/>
                  <a:gd name="T6" fmla="*/ 16 w 32"/>
                  <a:gd name="T7" fmla="*/ 0 h 529"/>
                  <a:gd name="T8" fmla="*/ 32 w 32"/>
                  <a:gd name="T9" fmla="*/ 16 h 529"/>
                  <a:gd name="T10" fmla="*/ 32 w 32"/>
                  <a:gd name="T11" fmla="*/ 513 h 529"/>
                  <a:gd name="T12" fmla="*/ 16 w 32"/>
                  <a:gd name="T13" fmla="*/ 529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529">
                    <a:moveTo>
                      <a:pt x="16" y="529"/>
                    </a:moveTo>
                    <a:cubicBezTo>
                      <a:pt x="7" y="529"/>
                      <a:pt x="0" y="522"/>
                      <a:pt x="0" y="5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513"/>
                      <a:pt x="32" y="513"/>
                      <a:pt x="32" y="513"/>
                    </a:cubicBezTo>
                    <a:cubicBezTo>
                      <a:pt x="32" y="522"/>
                      <a:pt x="25" y="529"/>
                      <a:pt x="16" y="5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42"/>
              <p:cNvSpPr>
                <a:spLocks/>
              </p:cNvSpPr>
              <p:nvPr/>
            </p:nvSpPr>
            <p:spPr bwMode="auto">
              <a:xfrm>
                <a:off x="34925" y="5713413"/>
                <a:ext cx="22225" cy="17463"/>
              </a:xfrm>
              <a:custGeom>
                <a:avLst/>
                <a:gdLst>
                  <a:gd name="T0" fmla="*/ 66 w 82"/>
                  <a:gd name="T1" fmla="*/ 66 h 66"/>
                  <a:gd name="T2" fmla="*/ 4 w 82"/>
                  <a:gd name="T3" fmla="*/ 25 h 66"/>
                  <a:gd name="T4" fmla="*/ 11 w 82"/>
                  <a:gd name="T5" fmla="*/ 4 h 66"/>
                  <a:gd name="T6" fmla="*/ 32 w 82"/>
                  <a:gd name="T7" fmla="*/ 11 h 66"/>
                  <a:gd name="T8" fmla="*/ 66 w 82"/>
                  <a:gd name="T9" fmla="*/ 34 h 66"/>
                  <a:gd name="T10" fmla="*/ 82 w 82"/>
                  <a:gd name="T11" fmla="*/ 50 h 66"/>
                  <a:gd name="T12" fmla="*/ 6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66" y="66"/>
                    </a:moveTo>
                    <a:cubicBezTo>
                      <a:pt x="25" y="66"/>
                      <a:pt x="5" y="27"/>
                      <a:pt x="4" y="25"/>
                    </a:cubicBezTo>
                    <a:cubicBezTo>
                      <a:pt x="0" y="17"/>
                      <a:pt x="3" y="8"/>
                      <a:pt x="11" y="4"/>
                    </a:cubicBezTo>
                    <a:cubicBezTo>
                      <a:pt x="19" y="0"/>
                      <a:pt x="28" y="3"/>
                      <a:pt x="32" y="11"/>
                    </a:cubicBezTo>
                    <a:cubicBezTo>
                      <a:pt x="33" y="11"/>
                      <a:pt x="45" y="34"/>
                      <a:pt x="66" y="34"/>
                    </a:cubicBezTo>
                    <a:cubicBezTo>
                      <a:pt x="75" y="34"/>
                      <a:pt x="82" y="41"/>
                      <a:pt x="82" y="50"/>
                    </a:cubicBezTo>
                    <a:cubicBezTo>
                      <a:pt x="82" y="59"/>
                      <a:pt x="75" y="66"/>
                      <a:pt x="6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43"/>
              <p:cNvSpPr>
                <a:spLocks/>
              </p:cNvSpPr>
              <p:nvPr/>
            </p:nvSpPr>
            <p:spPr bwMode="auto">
              <a:xfrm>
                <a:off x="22225" y="5713413"/>
                <a:ext cx="22225" cy="17463"/>
              </a:xfrm>
              <a:custGeom>
                <a:avLst/>
                <a:gdLst>
                  <a:gd name="T0" fmla="*/ 16 w 82"/>
                  <a:gd name="T1" fmla="*/ 66 h 66"/>
                  <a:gd name="T2" fmla="*/ 0 w 82"/>
                  <a:gd name="T3" fmla="*/ 50 h 66"/>
                  <a:gd name="T4" fmla="*/ 16 w 82"/>
                  <a:gd name="T5" fmla="*/ 34 h 66"/>
                  <a:gd name="T6" fmla="*/ 50 w 82"/>
                  <a:gd name="T7" fmla="*/ 11 h 66"/>
                  <a:gd name="T8" fmla="*/ 71 w 82"/>
                  <a:gd name="T9" fmla="*/ 4 h 66"/>
                  <a:gd name="T10" fmla="*/ 78 w 82"/>
                  <a:gd name="T11" fmla="*/ 25 h 66"/>
                  <a:gd name="T12" fmla="*/ 16 w 82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66">
                    <a:moveTo>
                      <a:pt x="16" y="66"/>
                    </a:moveTo>
                    <a:cubicBezTo>
                      <a:pt x="7" y="66"/>
                      <a:pt x="0" y="59"/>
                      <a:pt x="0" y="50"/>
                    </a:cubicBezTo>
                    <a:cubicBezTo>
                      <a:pt x="0" y="41"/>
                      <a:pt x="7" y="34"/>
                      <a:pt x="16" y="34"/>
                    </a:cubicBezTo>
                    <a:cubicBezTo>
                      <a:pt x="37" y="34"/>
                      <a:pt x="49" y="11"/>
                      <a:pt x="50" y="11"/>
                    </a:cubicBezTo>
                    <a:cubicBezTo>
                      <a:pt x="54" y="3"/>
                      <a:pt x="63" y="0"/>
                      <a:pt x="71" y="4"/>
                    </a:cubicBezTo>
                    <a:cubicBezTo>
                      <a:pt x="79" y="8"/>
                      <a:pt x="82" y="17"/>
                      <a:pt x="78" y="25"/>
                    </a:cubicBezTo>
                    <a:cubicBezTo>
                      <a:pt x="77" y="27"/>
                      <a:pt x="57" y="66"/>
                      <a:pt x="1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44"/>
              <p:cNvSpPr>
                <a:spLocks/>
              </p:cNvSpPr>
              <p:nvPr/>
            </p:nvSpPr>
            <p:spPr bwMode="auto">
              <a:xfrm>
                <a:off x="34925" y="5654675"/>
                <a:ext cx="30163" cy="25400"/>
              </a:xfrm>
              <a:custGeom>
                <a:avLst/>
                <a:gdLst>
                  <a:gd name="T0" fmla="*/ 96 w 112"/>
                  <a:gd name="T1" fmla="*/ 96 h 96"/>
                  <a:gd name="T2" fmla="*/ 0 w 112"/>
                  <a:gd name="T3" fmla="*/ 16 h 96"/>
                  <a:gd name="T4" fmla="*/ 16 w 112"/>
                  <a:gd name="T5" fmla="*/ 0 h 96"/>
                  <a:gd name="T6" fmla="*/ 32 w 112"/>
                  <a:gd name="T7" fmla="*/ 16 h 96"/>
                  <a:gd name="T8" fmla="*/ 96 w 112"/>
                  <a:gd name="T9" fmla="*/ 64 h 96"/>
                  <a:gd name="T10" fmla="*/ 112 w 112"/>
                  <a:gd name="T11" fmla="*/ 80 h 96"/>
                  <a:gd name="T12" fmla="*/ 96 w 112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6">
                    <a:moveTo>
                      <a:pt x="96" y="96"/>
                    </a:moveTo>
                    <a:cubicBezTo>
                      <a:pt x="20" y="96"/>
                      <a:pt x="0" y="44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25" y="0"/>
                      <a:pt x="32" y="7"/>
                      <a:pt x="32" y="16"/>
                    </a:cubicBezTo>
                    <a:cubicBezTo>
                      <a:pt x="32" y="21"/>
                      <a:pt x="35" y="64"/>
                      <a:pt x="96" y="64"/>
                    </a:cubicBezTo>
                    <a:cubicBezTo>
                      <a:pt x="105" y="64"/>
                      <a:pt x="112" y="71"/>
                      <a:pt x="112" y="80"/>
                    </a:cubicBezTo>
                    <a:cubicBezTo>
                      <a:pt x="112" y="89"/>
                      <a:pt x="105" y="96"/>
                      <a:pt x="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45"/>
              <p:cNvSpPr>
                <a:spLocks/>
              </p:cNvSpPr>
              <p:nvPr/>
            </p:nvSpPr>
            <p:spPr bwMode="auto">
              <a:xfrm>
                <a:off x="14288" y="5654675"/>
                <a:ext cx="30163" cy="25400"/>
              </a:xfrm>
              <a:custGeom>
                <a:avLst/>
                <a:gdLst>
                  <a:gd name="T0" fmla="*/ 16 w 112"/>
                  <a:gd name="T1" fmla="*/ 97 h 97"/>
                  <a:gd name="T2" fmla="*/ 0 w 112"/>
                  <a:gd name="T3" fmla="*/ 81 h 97"/>
                  <a:gd name="T4" fmla="*/ 16 w 112"/>
                  <a:gd name="T5" fmla="*/ 65 h 97"/>
                  <a:gd name="T6" fmla="*/ 80 w 112"/>
                  <a:gd name="T7" fmla="*/ 17 h 97"/>
                  <a:gd name="T8" fmla="*/ 96 w 112"/>
                  <a:gd name="T9" fmla="*/ 1 h 97"/>
                  <a:gd name="T10" fmla="*/ 112 w 112"/>
                  <a:gd name="T11" fmla="*/ 17 h 97"/>
                  <a:gd name="T12" fmla="*/ 16 w 112"/>
                  <a:gd name="T1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97">
                    <a:moveTo>
                      <a:pt x="16" y="97"/>
                    </a:moveTo>
                    <a:cubicBezTo>
                      <a:pt x="7" y="97"/>
                      <a:pt x="0" y="90"/>
                      <a:pt x="0" y="81"/>
                    </a:cubicBezTo>
                    <a:cubicBezTo>
                      <a:pt x="0" y="72"/>
                      <a:pt x="7" y="65"/>
                      <a:pt x="16" y="65"/>
                    </a:cubicBezTo>
                    <a:cubicBezTo>
                      <a:pt x="77" y="65"/>
                      <a:pt x="80" y="22"/>
                      <a:pt x="80" y="17"/>
                    </a:cubicBezTo>
                    <a:cubicBezTo>
                      <a:pt x="80" y="8"/>
                      <a:pt x="87" y="0"/>
                      <a:pt x="96" y="1"/>
                    </a:cubicBezTo>
                    <a:cubicBezTo>
                      <a:pt x="105" y="1"/>
                      <a:pt x="112" y="8"/>
                      <a:pt x="112" y="17"/>
                    </a:cubicBezTo>
                    <a:cubicBezTo>
                      <a:pt x="112" y="45"/>
                      <a:pt x="92" y="97"/>
                      <a:pt x="16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54" name="Group 453"/>
          <p:cNvGrpSpPr/>
          <p:nvPr/>
        </p:nvGrpSpPr>
        <p:grpSpPr>
          <a:xfrm>
            <a:off x="7612865" y="3786509"/>
            <a:ext cx="648016" cy="648016"/>
            <a:chOff x="6261145" y="2432164"/>
            <a:chExt cx="457200" cy="457200"/>
          </a:xfrm>
        </p:grpSpPr>
        <p:sp>
          <p:nvSpPr>
            <p:cNvPr id="412" name="Oval 411"/>
            <p:cNvSpPr/>
            <p:nvPr/>
          </p:nvSpPr>
          <p:spPr>
            <a:xfrm>
              <a:off x="6261145" y="2432164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6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414" name="TextBox 413"/>
            <p:cNvSpPr txBox="1"/>
            <p:nvPr/>
          </p:nvSpPr>
          <p:spPr>
            <a:xfrm>
              <a:off x="6298474" y="2665330"/>
              <a:ext cx="390652" cy="1906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</a:pPr>
              <a:r>
                <a:rPr lang="en-US" sz="800" dirty="0">
                  <a:solidFill>
                    <a:schemeClr val="tx2"/>
                  </a:solidFill>
                  <a:latin typeface="+mj-lt"/>
                  <a:ea typeface="Roboto" pitchFamily="2" charset="0"/>
                </a:rPr>
                <a:t>End-to-End Mobility Solution</a:t>
              </a:r>
            </a:p>
          </p:txBody>
        </p:sp>
        <p:grpSp>
          <p:nvGrpSpPr>
            <p:cNvPr id="448" name="Group 447"/>
            <p:cNvGrpSpPr/>
            <p:nvPr/>
          </p:nvGrpSpPr>
          <p:grpSpPr>
            <a:xfrm>
              <a:off x="6424400" y="2501266"/>
              <a:ext cx="130690" cy="142768"/>
              <a:chOff x="-301625" y="5462588"/>
              <a:chExt cx="669925" cy="731837"/>
            </a:xfrm>
            <a:solidFill>
              <a:schemeClr val="tx2"/>
            </a:solidFill>
          </p:grpSpPr>
          <p:sp>
            <p:nvSpPr>
              <p:cNvPr id="449" name="Freeform 49"/>
              <p:cNvSpPr>
                <a:spLocks noEditPoints="1"/>
              </p:cNvSpPr>
              <p:nvPr/>
            </p:nvSpPr>
            <p:spPr bwMode="auto">
              <a:xfrm>
                <a:off x="-301625" y="5462588"/>
                <a:ext cx="414338" cy="731837"/>
              </a:xfrm>
              <a:custGeom>
                <a:avLst/>
                <a:gdLst>
                  <a:gd name="T0" fmla="*/ 106 w 109"/>
                  <a:gd name="T1" fmla="*/ 99 h 192"/>
                  <a:gd name="T2" fmla="*/ 102 w 109"/>
                  <a:gd name="T3" fmla="*/ 102 h 192"/>
                  <a:gd name="T4" fmla="*/ 102 w 109"/>
                  <a:gd name="T5" fmla="*/ 147 h 192"/>
                  <a:gd name="T6" fmla="*/ 6 w 109"/>
                  <a:gd name="T7" fmla="*/ 147 h 192"/>
                  <a:gd name="T8" fmla="*/ 6 w 109"/>
                  <a:gd name="T9" fmla="*/ 26 h 192"/>
                  <a:gd name="T10" fmla="*/ 102 w 109"/>
                  <a:gd name="T11" fmla="*/ 26 h 192"/>
                  <a:gd name="T12" fmla="*/ 102 w 109"/>
                  <a:gd name="T13" fmla="*/ 70 h 192"/>
                  <a:gd name="T14" fmla="*/ 106 w 109"/>
                  <a:gd name="T15" fmla="*/ 74 h 192"/>
                  <a:gd name="T16" fmla="*/ 109 w 109"/>
                  <a:gd name="T17" fmla="*/ 70 h 192"/>
                  <a:gd name="T18" fmla="*/ 109 w 109"/>
                  <a:gd name="T19" fmla="*/ 14 h 192"/>
                  <a:gd name="T20" fmla="*/ 95 w 109"/>
                  <a:gd name="T21" fmla="*/ 0 h 192"/>
                  <a:gd name="T22" fmla="*/ 14 w 109"/>
                  <a:gd name="T23" fmla="*/ 0 h 192"/>
                  <a:gd name="T24" fmla="*/ 0 w 109"/>
                  <a:gd name="T25" fmla="*/ 14 h 192"/>
                  <a:gd name="T26" fmla="*/ 0 w 109"/>
                  <a:gd name="T27" fmla="*/ 178 h 192"/>
                  <a:gd name="T28" fmla="*/ 14 w 109"/>
                  <a:gd name="T29" fmla="*/ 192 h 192"/>
                  <a:gd name="T30" fmla="*/ 95 w 109"/>
                  <a:gd name="T31" fmla="*/ 192 h 192"/>
                  <a:gd name="T32" fmla="*/ 109 w 109"/>
                  <a:gd name="T33" fmla="*/ 178 h 192"/>
                  <a:gd name="T34" fmla="*/ 109 w 109"/>
                  <a:gd name="T35" fmla="*/ 102 h 192"/>
                  <a:gd name="T36" fmla="*/ 106 w 109"/>
                  <a:gd name="T37" fmla="*/ 99 h 192"/>
                  <a:gd name="T38" fmla="*/ 14 w 109"/>
                  <a:gd name="T39" fmla="*/ 6 h 192"/>
                  <a:gd name="T40" fmla="*/ 95 w 109"/>
                  <a:gd name="T41" fmla="*/ 6 h 192"/>
                  <a:gd name="T42" fmla="*/ 102 w 109"/>
                  <a:gd name="T43" fmla="*/ 14 h 192"/>
                  <a:gd name="T44" fmla="*/ 102 w 109"/>
                  <a:gd name="T45" fmla="*/ 19 h 192"/>
                  <a:gd name="T46" fmla="*/ 6 w 109"/>
                  <a:gd name="T47" fmla="*/ 19 h 192"/>
                  <a:gd name="T48" fmla="*/ 6 w 109"/>
                  <a:gd name="T49" fmla="*/ 14 h 192"/>
                  <a:gd name="T50" fmla="*/ 14 w 109"/>
                  <a:gd name="T51" fmla="*/ 6 h 192"/>
                  <a:gd name="T52" fmla="*/ 95 w 109"/>
                  <a:gd name="T53" fmla="*/ 186 h 192"/>
                  <a:gd name="T54" fmla="*/ 14 w 109"/>
                  <a:gd name="T55" fmla="*/ 186 h 192"/>
                  <a:gd name="T56" fmla="*/ 6 w 109"/>
                  <a:gd name="T57" fmla="*/ 178 h 192"/>
                  <a:gd name="T58" fmla="*/ 6 w 109"/>
                  <a:gd name="T59" fmla="*/ 154 h 192"/>
                  <a:gd name="T60" fmla="*/ 102 w 109"/>
                  <a:gd name="T61" fmla="*/ 154 h 192"/>
                  <a:gd name="T62" fmla="*/ 102 w 109"/>
                  <a:gd name="T63" fmla="*/ 178 h 192"/>
                  <a:gd name="T64" fmla="*/ 95 w 109"/>
                  <a:gd name="T65" fmla="*/ 186 h 192"/>
                  <a:gd name="T66" fmla="*/ 95 w 109"/>
                  <a:gd name="T67" fmla="*/ 186 h 192"/>
                  <a:gd name="T68" fmla="*/ 95 w 109"/>
                  <a:gd name="T69" fmla="*/ 186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9" h="192">
                    <a:moveTo>
                      <a:pt x="106" y="99"/>
                    </a:moveTo>
                    <a:cubicBezTo>
                      <a:pt x="104" y="99"/>
                      <a:pt x="102" y="101"/>
                      <a:pt x="102" y="102"/>
                    </a:cubicBezTo>
                    <a:cubicBezTo>
                      <a:pt x="102" y="147"/>
                      <a:pt x="102" y="147"/>
                      <a:pt x="102" y="147"/>
                    </a:cubicBezTo>
                    <a:cubicBezTo>
                      <a:pt x="6" y="147"/>
                      <a:pt x="6" y="147"/>
                      <a:pt x="6" y="14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70"/>
                      <a:pt x="102" y="70"/>
                      <a:pt x="102" y="70"/>
                    </a:cubicBezTo>
                    <a:cubicBezTo>
                      <a:pt x="102" y="72"/>
                      <a:pt x="104" y="74"/>
                      <a:pt x="106" y="74"/>
                    </a:cubicBezTo>
                    <a:cubicBezTo>
                      <a:pt x="107" y="74"/>
                      <a:pt x="109" y="72"/>
                      <a:pt x="109" y="70"/>
                    </a:cubicBezTo>
                    <a:cubicBezTo>
                      <a:pt x="109" y="14"/>
                      <a:pt x="109" y="14"/>
                      <a:pt x="109" y="14"/>
                    </a:cubicBezTo>
                    <a:cubicBezTo>
                      <a:pt x="109" y="6"/>
                      <a:pt x="102" y="0"/>
                      <a:pt x="9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86"/>
                      <a:pt x="6" y="192"/>
                      <a:pt x="14" y="192"/>
                    </a:cubicBezTo>
                    <a:cubicBezTo>
                      <a:pt x="95" y="192"/>
                      <a:pt x="95" y="192"/>
                      <a:pt x="95" y="192"/>
                    </a:cubicBezTo>
                    <a:cubicBezTo>
                      <a:pt x="102" y="192"/>
                      <a:pt x="109" y="186"/>
                      <a:pt x="109" y="178"/>
                    </a:cubicBezTo>
                    <a:cubicBezTo>
                      <a:pt x="109" y="102"/>
                      <a:pt x="109" y="102"/>
                      <a:pt x="109" y="102"/>
                    </a:cubicBezTo>
                    <a:cubicBezTo>
                      <a:pt x="109" y="101"/>
                      <a:pt x="107" y="99"/>
                      <a:pt x="106" y="99"/>
                    </a:cubicBezTo>
                    <a:close/>
                    <a:moveTo>
                      <a:pt x="14" y="6"/>
                    </a:moveTo>
                    <a:cubicBezTo>
                      <a:pt x="95" y="6"/>
                      <a:pt x="95" y="6"/>
                      <a:pt x="95" y="6"/>
                    </a:cubicBezTo>
                    <a:cubicBezTo>
                      <a:pt x="99" y="6"/>
                      <a:pt x="102" y="10"/>
                      <a:pt x="102" y="14"/>
                    </a:cubicBezTo>
                    <a:cubicBezTo>
                      <a:pt x="102" y="19"/>
                      <a:pt x="102" y="19"/>
                      <a:pt x="102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0"/>
                      <a:pt x="10" y="6"/>
                      <a:pt x="14" y="6"/>
                    </a:cubicBezTo>
                    <a:close/>
                    <a:moveTo>
                      <a:pt x="95" y="186"/>
                    </a:moveTo>
                    <a:cubicBezTo>
                      <a:pt x="14" y="186"/>
                      <a:pt x="14" y="186"/>
                      <a:pt x="14" y="186"/>
                    </a:cubicBezTo>
                    <a:cubicBezTo>
                      <a:pt x="10" y="186"/>
                      <a:pt x="6" y="182"/>
                      <a:pt x="6" y="178"/>
                    </a:cubicBezTo>
                    <a:cubicBezTo>
                      <a:pt x="6" y="154"/>
                      <a:pt x="6" y="154"/>
                      <a:pt x="6" y="154"/>
                    </a:cubicBez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78"/>
                      <a:pt x="102" y="178"/>
                      <a:pt x="102" y="178"/>
                    </a:cubicBezTo>
                    <a:cubicBezTo>
                      <a:pt x="102" y="182"/>
                      <a:pt x="99" y="186"/>
                      <a:pt x="95" y="186"/>
                    </a:cubicBezTo>
                    <a:close/>
                    <a:moveTo>
                      <a:pt x="95" y="186"/>
                    </a:moveTo>
                    <a:cubicBezTo>
                      <a:pt x="95" y="186"/>
                      <a:pt x="95" y="186"/>
                      <a:pt x="95" y="1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50"/>
              <p:cNvSpPr>
                <a:spLocks noEditPoints="1"/>
              </p:cNvSpPr>
              <p:nvPr/>
            </p:nvSpPr>
            <p:spPr bwMode="auto">
              <a:xfrm>
                <a:off x="-142875" y="6061075"/>
                <a:ext cx="96838" cy="95250"/>
              </a:xfrm>
              <a:custGeom>
                <a:avLst/>
                <a:gdLst>
                  <a:gd name="T0" fmla="*/ 12 w 25"/>
                  <a:gd name="T1" fmla="*/ 0 h 25"/>
                  <a:gd name="T2" fmla="*/ 0 w 25"/>
                  <a:gd name="T3" fmla="*/ 13 h 25"/>
                  <a:gd name="T4" fmla="*/ 12 w 25"/>
                  <a:gd name="T5" fmla="*/ 25 h 25"/>
                  <a:gd name="T6" fmla="*/ 25 w 25"/>
                  <a:gd name="T7" fmla="*/ 13 h 25"/>
                  <a:gd name="T8" fmla="*/ 12 w 25"/>
                  <a:gd name="T9" fmla="*/ 0 h 25"/>
                  <a:gd name="T10" fmla="*/ 12 w 25"/>
                  <a:gd name="T11" fmla="*/ 19 h 25"/>
                  <a:gd name="T12" fmla="*/ 6 w 25"/>
                  <a:gd name="T13" fmla="*/ 13 h 25"/>
                  <a:gd name="T14" fmla="*/ 12 w 25"/>
                  <a:gd name="T15" fmla="*/ 6 h 25"/>
                  <a:gd name="T16" fmla="*/ 19 w 25"/>
                  <a:gd name="T17" fmla="*/ 13 h 25"/>
                  <a:gd name="T18" fmla="*/ 12 w 25"/>
                  <a:gd name="T19" fmla="*/ 19 h 25"/>
                  <a:gd name="T20" fmla="*/ 12 w 25"/>
                  <a:gd name="T21" fmla="*/ 19 h 25"/>
                  <a:gd name="T22" fmla="*/ 12 w 25"/>
                  <a:gd name="T23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20"/>
                      <a:pt x="5" y="25"/>
                      <a:pt x="12" y="25"/>
                    </a:cubicBezTo>
                    <a:cubicBezTo>
                      <a:pt x="19" y="25"/>
                      <a:pt x="25" y="20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lose/>
                    <a:moveTo>
                      <a:pt x="12" y="19"/>
                    </a:moveTo>
                    <a:cubicBezTo>
                      <a:pt x="9" y="19"/>
                      <a:pt x="6" y="16"/>
                      <a:pt x="6" y="13"/>
                    </a:cubicBezTo>
                    <a:cubicBezTo>
                      <a:pt x="6" y="9"/>
                      <a:pt x="9" y="6"/>
                      <a:pt x="12" y="6"/>
                    </a:cubicBezTo>
                    <a:cubicBezTo>
                      <a:pt x="16" y="6"/>
                      <a:pt x="19" y="9"/>
                      <a:pt x="19" y="13"/>
                    </a:cubicBezTo>
                    <a:cubicBezTo>
                      <a:pt x="19" y="16"/>
                      <a:pt x="16" y="19"/>
                      <a:pt x="12" y="19"/>
                    </a:cubicBezTo>
                    <a:close/>
                    <a:moveTo>
                      <a:pt x="12" y="19"/>
                    </a:moveTo>
                    <a:cubicBezTo>
                      <a:pt x="12" y="19"/>
                      <a:pt x="12" y="19"/>
                      <a:pt x="12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51"/>
              <p:cNvSpPr>
                <a:spLocks noEditPoints="1"/>
              </p:cNvSpPr>
              <p:nvPr/>
            </p:nvSpPr>
            <p:spPr bwMode="auto">
              <a:xfrm>
                <a:off x="-157163" y="5500688"/>
                <a:ext cx="76200" cy="22225"/>
              </a:xfrm>
              <a:custGeom>
                <a:avLst/>
                <a:gdLst>
                  <a:gd name="T0" fmla="*/ 4 w 20"/>
                  <a:gd name="T1" fmla="*/ 6 h 6"/>
                  <a:gd name="T2" fmla="*/ 16 w 20"/>
                  <a:gd name="T3" fmla="*/ 6 h 6"/>
                  <a:gd name="T4" fmla="*/ 20 w 20"/>
                  <a:gd name="T5" fmla="*/ 3 h 6"/>
                  <a:gd name="T6" fmla="*/ 16 w 20"/>
                  <a:gd name="T7" fmla="*/ 0 h 6"/>
                  <a:gd name="T8" fmla="*/ 4 w 20"/>
                  <a:gd name="T9" fmla="*/ 0 h 6"/>
                  <a:gd name="T10" fmla="*/ 0 w 20"/>
                  <a:gd name="T11" fmla="*/ 3 h 6"/>
                  <a:gd name="T12" fmla="*/ 4 w 20"/>
                  <a:gd name="T13" fmla="*/ 6 h 6"/>
                  <a:gd name="T14" fmla="*/ 4 w 20"/>
                  <a:gd name="T15" fmla="*/ 6 h 6"/>
                  <a:gd name="T16" fmla="*/ 4 w 2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6">
                    <a:moveTo>
                      <a:pt x="4" y="6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8" y="6"/>
                      <a:pt x="20" y="5"/>
                      <a:pt x="20" y="3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  <a:close/>
                    <a:moveTo>
                      <a:pt x="4" y="6"/>
                    </a:moveTo>
                    <a:cubicBezTo>
                      <a:pt x="4" y="6"/>
                      <a:pt x="4" y="6"/>
                      <a:pt x="4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52"/>
              <p:cNvSpPr>
                <a:spLocks noEditPoints="1"/>
              </p:cNvSpPr>
              <p:nvPr/>
            </p:nvSpPr>
            <p:spPr bwMode="auto">
              <a:xfrm>
                <a:off x="-69850" y="5500688"/>
                <a:ext cx="34925" cy="22225"/>
              </a:xfrm>
              <a:custGeom>
                <a:avLst/>
                <a:gdLst>
                  <a:gd name="T0" fmla="*/ 3 w 9"/>
                  <a:gd name="T1" fmla="*/ 6 h 6"/>
                  <a:gd name="T2" fmla="*/ 6 w 9"/>
                  <a:gd name="T3" fmla="*/ 6 h 6"/>
                  <a:gd name="T4" fmla="*/ 9 w 9"/>
                  <a:gd name="T5" fmla="*/ 3 h 6"/>
                  <a:gd name="T6" fmla="*/ 6 w 9"/>
                  <a:gd name="T7" fmla="*/ 0 h 6"/>
                  <a:gd name="T8" fmla="*/ 3 w 9"/>
                  <a:gd name="T9" fmla="*/ 0 h 6"/>
                  <a:gd name="T10" fmla="*/ 0 w 9"/>
                  <a:gd name="T11" fmla="*/ 3 h 6"/>
                  <a:gd name="T12" fmla="*/ 3 w 9"/>
                  <a:gd name="T13" fmla="*/ 6 h 6"/>
                  <a:gd name="T14" fmla="*/ 3 w 9"/>
                  <a:gd name="T15" fmla="*/ 6 h 6"/>
                  <a:gd name="T16" fmla="*/ 3 w 9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6">
                    <a:moveTo>
                      <a:pt x="3" y="6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8" y="6"/>
                      <a:pt x="9" y="5"/>
                      <a:pt x="9" y="3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lose/>
                    <a:moveTo>
                      <a:pt x="3" y="6"/>
                    </a:move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53"/>
              <p:cNvSpPr>
                <a:spLocks noEditPoints="1"/>
              </p:cNvSpPr>
              <p:nvPr/>
            </p:nvSpPr>
            <p:spPr bwMode="auto">
              <a:xfrm>
                <a:off x="-119063" y="5630863"/>
                <a:ext cx="487363" cy="319087"/>
              </a:xfrm>
              <a:custGeom>
                <a:avLst/>
                <a:gdLst>
                  <a:gd name="T0" fmla="*/ 128 w 128"/>
                  <a:gd name="T1" fmla="*/ 44 h 84"/>
                  <a:gd name="T2" fmla="*/ 128 w 128"/>
                  <a:gd name="T3" fmla="*/ 41 h 84"/>
                  <a:gd name="T4" fmla="*/ 127 w 128"/>
                  <a:gd name="T5" fmla="*/ 40 h 84"/>
                  <a:gd name="T6" fmla="*/ 89 w 128"/>
                  <a:gd name="T7" fmla="*/ 2 h 84"/>
                  <a:gd name="T8" fmla="*/ 84 w 128"/>
                  <a:gd name="T9" fmla="*/ 2 h 84"/>
                  <a:gd name="T10" fmla="*/ 84 w 128"/>
                  <a:gd name="T11" fmla="*/ 6 h 84"/>
                  <a:gd name="T12" fmla="*/ 117 w 128"/>
                  <a:gd name="T13" fmla="*/ 39 h 84"/>
                  <a:gd name="T14" fmla="*/ 3 w 128"/>
                  <a:gd name="T15" fmla="*/ 39 h 84"/>
                  <a:gd name="T16" fmla="*/ 0 w 128"/>
                  <a:gd name="T17" fmla="*/ 42 h 84"/>
                  <a:gd name="T18" fmla="*/ 3 w 128"/>
                  <a:gd name="T19" fmla="*/ 46 h 84"/>
                  <a:gd name="T20" fmla="*/ 117 w 128"/>
                  <a:gd name="T21" fmla="*/ 46 h 84"/>
                  <a:gd name="T22" fmla="*/ 84 w 128"/>
                  <a:gd name="T23" fmla="*/ 79 h 84"/>
                  <a:gd name="T24" fmla="*/ 84 w 128"/>
                  <a:gd name="T25" fmla="*/ 83 h 84"/>
                  <a:gd name="T26" fmla="*/ 86 w 128"/>
                  <a:gd name="T27" fmla="*/ 84 h 84"/>
                  <a:gd name="T28" fmla="*/ 89 w 128"/>
                  <a:gd name="T29" fmla="*/ 83 h 84"/>
                  <a:gd name="T30" fmla="*/ 127 w 128"/>
                  <a:gd name="T31" fmla="*/ 45 h 84"/>
                  <a:gd name="T32" fmla="*/ 128 w 128"/>
                  <a:gd name="T33" fmla="*/ 44 h 84"/>
                  <a:gd name="T34" fmla="*/ 128 w 128"/>
                  <a:gd name="T35" fmla="*/ 44 h 84"/>
                  <a:gd name="T36" fmla="*/ 128 w 128"/>
                  <a:gd name="T37" fmla="*/ 4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" h="84">
                    <a:moveTo>
                      <a:pt x="128" y="44"/>
                    </a:moveTo>
                    <a:cubicBezTo>
                      <a:pt x="128" y="43"/>
                      <a:pt x="128" y="42"/>
                      <a:pt x="128" y="41"/>
                    </a:cubicBezTo>
                    <a:cubicBezTo>
                      <a:pt x="128" y="41"/>
                      <a:pt x="127" y="40"/>
                      <a:pt x="127" y="40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87" y="0"/>
                      <a:pt x="85" y="0"/>
                      <a:pt x="84" y="2"/>
                    </a:cubicBezTo>
                    <a:cubicBezTo>
                      <a:pt x="83" y="3"/>
                      <a:pt x="83" y="5"/>
                      <a:pt x="84" y="6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1" y="39"/>
                      <a:pt x="0" y="41"/>
                      <a:pt x="0" y="42"/>
                    </a:cubicBezTo>
                    <a:cubicBezTo>
                      <a:pt x="0" y="44"/>
                      <a:pt x="1" y="46"/>
                      <a:pt x="3" y="46"/>
                    </a:cubicBezTo>
                    <a:cubicBezTo>
                      <a:pt x="117" y="46"/>
                      <a:pt x="117" y="46"/>
                      <a:pt x="117" y="46"/>
                    </a:cubicBezTo>
                    <a:cubicBezTo>
                      <a:pt x="84" y="79"/>
                      <a:pt x="84" y="79"/>
                      <a:pt x="84" y="79"/>
                    </a:cubicBezTo>
                    <a:cubicBezTo>
                      <a:pt x="83" y="80"/>
                      <a:pt x="83" y="82"/>
                      <a:pt x="84" y="83"/>
                    </a:cubicBezTo>
                    <a:cubicBezTo>
                      <a:pt x="85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3"/>
                    </a:cubicBezTo>
                    <a:cubicBezTo>
                      <a:pt x="127" y="45"/>
                      <a:pt x="127" y="45"/>
                      <a:pt x="127" y="45"/>
                    </a:cubicBezTo>
                    <a:cubicBezTo>
                      <a:pt x="127" y="44"/>
                      <a:pt x="128" y="44"/>
                      <a:pt x="128" y="44"/>
                    </a:cubicBezTo>
                    <a:close/>
                    <a:moveTo>
                      <a:pt x="128" y="44"/>
                    </a:moveTo>
                    <a:cubicBezTo>
                      <a:pt x="128" y="44"/>
                      <a:pt x="128" y="44"/>
                      <a:pt x="128" y="4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7" name="Oval 456"/>
          <p:cNvSpPr/>
          <p:nvPr/>
        </p:nvSpPr>
        <p:spPr>
          <a:xfrm>
            <a:off x="795775" y="3001852"/>
            <a:ext cx="130520" cy="13052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Offering &amp;</a:t>
            </a:r>
            <a:br>
              <a:rPr lang="en-US" sz="900" dirty="0">
                <a:solidFill>
                  <a:srgbClr val="444444"/>
                </a:solidFill>
                <a:latin typeface="+mn-lt"/>
              </a:rPr>
            </a:br>
            <a:r>
              <a:rPr lang="en-US" sz="900" dirty="0">
                <a:solidFill>
                  <a:srgbClr val="444444"/>
                </a:solidFill>
                <a:latin typeface="+mn-lt"/>
              </a:rPr>
              <a:t>Enablement</a:t>
            </a:r>
          </a:p>
        </p:txBody>
      </p:sp>
      <p:sp>
        <p:nvSpPr>
          <p:cNvPr id="458" name="Oval 457"/>
          <p:cNvSpPr/>
          <p:nvPr/>
        </p:nvSpPr>
        <p:spPr>
          <a:xfrm>
            <a:off x="795775" y="3326458"/>
            <a:ext cx="130520" cy="1305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Prebuilt Security/Performance Evaluated</a:t>
            </a:r>
            <a:br>
              <a:rPr lang="en-US" sz="900" dirty="0">
                <a:solidFill>
                  <a:srgbClr val="444444"/>
                </a:solidFill>
                <a:latin typeface="+mn-lt"/>
              </a:rPr>
            </a:br>
            <a:r>
              <a:rPr lang="en-US" sz="900" dirty="0">
                <a:solidFill>
                  <a:srgbClr val="444444"/>
                </a:solidFill>
                <a:latin typeface="+mn-lt"/>
              </a:rPr>
              <a:t>Mobility Solutions from EME</a:t>
            </a:r>
          </a:p>
        </p:txBody>
      </p:sp>
      <p:sp>
        <p:nvSpPr>
          <p:cNvPr id="459" name="Oval 458"/>
          <p:cNvSpPr/>
          <p:nvPr/>
        </p:nvSpPr>
        <p:spPr>
          <a:xfrm>
            <a:off x="795775" y="3630790"/>
            <a:ext cx="130520" cy="130520"/>
          </a:xfrm>
          <a:prstGeom prst="ellipse">
            <a:avLst/>
          </a:prstGeom>
          <a:solidFill>
            <a:schemeClr val="bg1">
              <a:lumMod val="60000"/>
              <a:lumOff val="40000"/>
            </a:schemeClr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Governance &amp; Support</a:t>
            </a:r>
          </a:p>
        </p:txBody>
      </p:sp>
      <p:sp>
        <p:nvSpPr>
          <p:cNvPr id="460" name="Oval 459"/>
          <p:cNvSpPr/>
          <p:nvPr/>
        </p:nvSpPr>
        <p:spPr>
          <a:xfrm>
            <a:off x="795775" y="2695552"/>
            <a:ext cx="130520" cy="130520"/>
          </a:xfrm>
          <a:prstGeom prst="ellipse">
            <a:avLst/>
          </a:prstGeom>
          <a:solidFill>
            <a:srgbClr val="A2310E"/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Mobility Solution Development</a:t>
            </a:r>
          </a:p>
        </p:txBody>
      </p:sp>
      <p:sp>
        <p:nvSpPr>
          <p:cNvPr id="461" name="Oval 460"/>
          <p:cNvSpPr/>
          <p:nvPr/>
        </p:nvSpPr>
        <p:spPr>
          <a:xfrm>
            <a:off x="795775" y="3877298"/>
            <a:ext cx="130520" cy="130520"/>
          </a:xfrm>
          <a:prstGeom prst="ellipse">
            <a:avLst/>
          </a:prstGeom>
          <a:solidFill>
            <a:srgbClr val="C58D67"/>
          </a:solidFill>
          <a:ln w="12700" cmpd="sng">
            <a:noFill/>
          </a:ln>
          <a:effectLst/>
        </p:spPr>
        <p:txBody>
          <a:bodyPr wrap="none" lIns="228600" tIns="45720" rIns="45720" bIns="45720" rtlCol="0" anchor="ctr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444444"/>
                </a:solidFill>
                <a:latin typeface="+mn-lt"/>
              </a:rPr>
              <a:t>Platforms</a:t>
            </a:r>
          </a:p>
        </p:txBody>
      </p:sp>
    </p:spTree>
    <p:extLst>
      <p:ext uri="{BB962C8B-B14F-4D97-AF65-F5344CB8AC3E}">
        <p14:creationId xmlns:p14="http://schemas.microsoft.com/office/powerpoint/2010/main" val="6672648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4" grpId="0" animBg="1"/>
      <p:bldP spid="12" grpId="0" animBg="1"/>
      <p:bldP spid="97" grpId="0" animBg="1"/>
      <p:bldP spid="197" grpId="0" animBg="1"/>
      <p:bldP spid="307" grpId="0"/>
      <p:bldP spid="321" grpId="0"/>
      <p:bldP spid="457" grpId="0" animBg="1"/>
      <p:bldP spid="458" grpId="0" animBg="1"/>
      <p:bldP spid="459" grpId="0" animBg="1"/>
      <p:bldP spid="46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1116" y="1106426"/>
            <a:ext cx="9014664" cy="39526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2000" dirty="0" err="1">
              <a:solidFill>
                <a:srgbClr val="44546A"/>
              </a:solidFill>
              <a:latin typeface="Calibri" panose="020F0502020204030204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2534" y="57370"/>
            <a:ext cx="632670" cy="24463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559" y="96721"/>
            <a:ext cx="443221" cy="16593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24886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Team Member Productivity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425127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Sales &amp; Prospect Enablement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725368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Practitioner Engagement</a:t>
            </a:r>
          </a:p>
        </p:txBody>
      </p:sp>
      <p:sp>
        <p:nvSpPr>
          <p:cNvPr id="51" name="Subtitle 2"/>
          <p:cNvSpPr txBox="1">
            <a:spLocks/>
          </p:cNvSpPr>
          <p:nvPr/>
        </p:nvSpPr>
        <p:spPr>
          <a:xfrm>
            <a:off x="257597" y="601596"/>
            <a:ext cx="6012085" cy="344594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05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Production Applications Driving High-Value Business Interactions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6405" y="80407"/>
            <a:ext cx="399634" cy="198560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>
          <a:xfrm>
            <a:off x="7025610" y="978418"/>
            <a:ext cx="1957500" cy="1755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800" dirty="0">
                <a:solidFill>
                  <a:prstClr val="white"/>
                </a:solidFill>
                <a:latin typeface="Calibri" panose="020F0502020204030204"/>
              </a:rPr>
              <a:t>Executive Portfolio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520942" y="2205476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Approve</a:t>
            </a:r>
            <a:endParaRPr lang="en-US" sz="900" dirty="0">
              <a:solidFill>
                <a:srgbClr val="0089CB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205476"/>
            <a:ext cx="337500" cy="337500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508710" y="2205476"/>
            <a:ext cx="5822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ngage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651248"/>
            <a:ext cx="337500" cy="337500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2677407"/>
            <a:ext cx="337500" cy="337500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034" y="2205476"/>
            <a:ext cx="337500" cy="337500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508709" y="3651248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08710" y="2677407"/>
            <a:ext cx="5693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paces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4700" y="2205477"/>
            <a:ext cx="314248" cy="311170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739573"/>
            <a:ext cx="337500" cy="337500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1739573"/>
            <a:ext cx="337500" cy="337500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677407"/>
            <a:ext cx="337500" cy="337500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7504373" y="1739573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Help-A-Customer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900890" y="2677407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ricorder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900889" y="1739573"/>
            <a:ext cx="1197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 err="1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Quote</a:t>
            </a: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 Approvals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252335" y="2205476"/>
            <a:ext cx="8835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Partner New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252335" y="1739573"/>
            <a:ext cx="104387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Dell EMC Mobile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252335" y="1264360"/>
            <a:ext cx="11592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ableau Enterpris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2918912" y="4128346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E-Lab Navigator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448" y="1739573"/>
            <a:ext cx="337500" cy="337500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448" y="1264360"/>
            <a:ext cx="337500" cy="337500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4128346"/>
            <a:ext cx="337500" cy="337500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4700" y="2677407"/>
            <a:ext cx="337500" cy="337500"/>
          </a:xfrm>
          <a:prstGeom prst="rect">
            <a:avLst/>
          </a:prstGeom>
        </p:spPr>
      </p:pic>
      <p:sp>
        <p:nvSpPr>
          <p:cNvPr id="113" name="TextBox 112"/>
          <p:cNvSpPr txBox="1"/>
          <p:nvPr/>
        </p:nvSpPr>
        <p:spPr>
          <a:xfrm>
            <a:off x="5252335" y="2677407"/>
            <a:ext cx="10310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Burn Notification</a:t>
            </a: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1739573"/>
            <a:ext cx="337500" cy="337500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202" y="2677407"/>
            <a:ext cx="337500" cy="33750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430" y="2205476"/>
            <a:ext cx="337500" cy="33750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9408" y="1264360"/>
            <a:ext cx="337500" cy="337500"/>
          </a:xfrm>
          <a:prstGeom prst="rect">
            <a:avLst/>
          </a:prstGeom>
        </p:spPr>
      </p:pic>
      <p:sp>
        <p:nvSpPr>
          <p:cNvPr id="118" name="TextBox 117"/>
          <p:cNvSpPr txBox="1"/>
          <p:nvPr/>
        </p:nvSpPr>
        <p:spPr>
          <a:xfrm>
            <a:off x="7510914" y="1264360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RC Reports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900890" y="2205476"/>
            <a:ext cx="8579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GeM Tracker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08710" y="1739573"/>
            <a:ext cx="5373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Events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7524137" y="2677407"/>
            <a:ext cx="10695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Sales Dashboard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526323" y="3147272"/>
            <a:ext cx="9925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APJ Dashboard</a:t>
            </a:r>
          </a:p>
        </p:txBody>
      </p:sp>
      <p:pic>
        <p:nvPicPr>
          <p:cNvPr id="123" name="Picture 12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7880" y="1264360"/>
            <a:ext cx="337500" cy="337500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2900890" y="1264360"/>
            <a:ext cx="8707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VxRail To Go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63" t="15829" r="14579" b="11812"/>
          <a:stretch/>
        </p:blipFill>
        <p:spPr>
          <a:xfrm>
            <a:off x="7215959" y="3147272"/>
            <a:ext cx="308178" cy="308178"/>
          </a:xfrm>
          <a:prstGeom prst="roundRect">
            <a:avLst>
              <a:gd name="adj" fmla="val 6597"/>
            </a:avLst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8" y="1264360"/>
            <a:ext cx="336062" cy="336062"/>
          </a:xfrm>
          <a:prstGeom prst="rect">
            <a:avLst/>
          </a:prstGeom>
        </p:spPr>
      </p:pic>
      <p:sp>
        <p:nvSpPr>
          <p:cNvPr id="127" name="TextBox 126"/>
          <p:cNvSpPr txBox="1"/>
          <p:nvPr/>
        </p:nvSpPr>
        <p:spPr>
          <a:xfrm>
            <a:off x="508710" y="1264360"/>
            <a:ext cx="66556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Dialer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227" y="3147272"/>
            <a:ext cx="328914" cy="328914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508710" y="3147272"/>
            <a:ext cx="8386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/>
              <a:t>EZ </a:t>
            </a:r>
            <a:r>
              <a:rPr lang="en-US" sz="900" dirty="0" err="1"/>
              <a:t>OrgChart</a:t>
            </a:r>
            <a:endParaRPr lang="en-US" sz="900" dirty="0"/>
          </a:p>
        </p:txBody>
      </p:sp>
      <p:sp>
        <p:nvSpPr>
          <p:cNvPr id="130" name="TextBox 129"/>
          <p:cNvSpPr txBox="1"/>
          <p:nvPr/>
        </p:nvSpPr>
        <p:spPr>
          <a:xfrm>
            <a:off x="2900890" y="3147272"/>
            <a:ext cx="6591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My Sales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520942" y="3651248"/>
            <a:ext cx="12426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DSC Supplier Profile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900890" y="3651248"/>
            <a:ext cx="5822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EMC BI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508710" y="4635499"/>
            <a:ext cx="9092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Hack Platform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5252335" y="3130863"/>
            <a:ext cx="7232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Orders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5252335" y="3645583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7DB8"/>
                </a:solidFill>
                <a:latin typeface="Roboto Medium" charset="0"/>
                <a:ea typeface="Roboto Medium" charset="0"/>
                <a:cs typeface="Roboto Medium" charset="0"/>
              </a:rPr>
              <a:t>Tableau Big Data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40" y="4635499"/>
            <a:ext cx="310500" cy="310500"/>
          </a:xfrm>
          <a:prstGeom prst="roundRect">
            <a:avLst>
              <a:gd name="adj" fmla="val 8253"/>
            </a:avLst>
          </a:prstGeom>
        </p:spPr>
      </p:pic>
      <p:sp>
        <p:nvSpPr>
          <p:cNvPr id="138" name="Title 1"/>
          <p:cNvSpPr txBox="1">
            <a:spLocks/>
          </p:cNvSpPr>
          <p:nvPr/>
        </p:nvSpPr>
        <p:spPr>
          <a:xfrm>
            <a:off x="257597" y="205593"/>
            <a:ext cx="4035980" cy="47153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300" dirty="0">
                <a:solidFill>
                  <a:srgbClr val="2D73AA"/>
                </a:solidFill>
                <a:latin typeface="Arial" charset="0"/>
                <a:ea typeface="Arial" charset="0"/>
                <a:cs typeface="Arial" charset="0"/>
              </a:rPr>
              <a:t>Dell Mobile Application Portfolio</a:t>
            </a:r>
            <a:endParaRPr lang="en-US" sz="1200" dirty="0">
              <a:solidFill>
                <a:srgbClr val="2D73AA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073" y="3604833"/>
            <a:ext cx="337500" cy="337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700" y="3136967"/>
            <a:ext cx="337500" cy="337500"/>
          </a:xfrm>
          <a:prstGeom prst="rect">
            <a:avLst/>
          </a:prstGeom>
        </p:spPr>
      </p:pic>
      <p:sp>
        <p:nvSpPr>
          <p:cNvPr id="140" name="Rectangle 139">
            <a:extLst>
              <a:ext uri="{FF2B5EF4-FFF2-40B4-BE49-F238E27FC236}">
                <a16:creationId xmlns:a16="http://schemas.microsoft.com/office/drawing/2014/main" id="{0C420194-DDAD-5141-A10E-BE67B564871A}"/>
              </a:ext>
            </a:extLst>
          </p:cNvPr>
          <p:cNvSpPr/>
          <p:nvPr/>
        </p:nvSpPr>
        <p:spPr>
          <a:xfrm>
            <a:off x="513290" y="4143373"/>
            <a:ext cx="6783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900" dirty="0">
                <a:solidFill>
                  <a:srgbClr val="0089CB"/>
                </a:solidFill>
                <a:latin typeface="Roboto Medium" charset="0"/>
                <a:ea typeface="Roboto Medium" charset="0"/>
                <a:cs typeface="Roboto Medium" charset="0"/>
              </a:rPr>
              <a:t>My Guest</a:t>
            </a: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91561E22-2560-E64B-AFA2-9C0DC1BCCEAC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24" y="4128346"/>
            <a:ext cx="394121" cy="394121"/>
          </a:xfrm>
          <a:prstGeom prst="rect">
            <a:avLst/>
          </a:prstGeom>
        </p:spPr>
      </p:pic>
      <p:pic>
        <p:nvPicPr>
          <p:cNvPr id="66" name="Picture 65" descr="Icon-Small-50@2x.pn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157" y="3648752"/>
            <a:ext cx="321733" cy="3217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412" y="3156326"/>
            <a:ext cx="337500" cy="337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1113" y="3651929"/>
            <a:ext cx="310500" cy="310500"/>
          </a:xfrm>
          <a:prstGeom prst="roundRect">
            <a:avLst>
              <a:gd name="adj" fmla="val 7378"/>
            </a:avLst>
          </a:prstGeom>
        </p:spPr>
      </p:pic>
    </p:spTree>
    <p:extLst>
      <p:ext uri="{BB962C8B-B14F-4D97-AF65-F5344CB8AC3E}">
        <p14:creationId xmlns:p14="http://schemas.microsoft.com/office/powerpoint/2010/main" val="7879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itle 5">
            <a:extLst>
              <a:ext uri="{FF2B5EF4-FFF2-40B4-BE49-F238E27FC236}">
                <a16:creationId xmlns:a16="http://schemas.microsoft.com/office/drawing/2014/main" id="{AB4AD410-0AF5-4CFE-AEE6-25CDC1B33A77}"/>
              </a:ext>
            </a:extLst>
          </p:cNvPr>
          <p:cNvSpPr txBox="1">
            <a:spLocks/>
          </p:cNvSpPr>
          <p:nvPr/>
        </p:nvSpPr>
        <p:spPr>
          <a:xfrm>
            <a:off x="266700" y="154179"/>
            <a:ext cx="8191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cap="none" baseline="0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kern="0" dirty="0"/>
              <a:t>Demo App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04161" y="541977"/>
            <a:ext cx="8735677" cy="4050706"/>
            <a:chOff x="286403" y="688637"/>
            <a:chExt cx="8735677" cy="405070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B12089-290B-524E-9577-444209C93223}"/>
                </a:ext>
              </a:extLst>
            </p:cNvPr>
            <p:cNvSpPr/>
            <p:nvPr/>
          </p:nvSpPr>
          <p:spPr>
            <a:xfrm rot="10800000">
              <a:off x="4657994" y="68863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BFE609-5085-C349-8F37-F5B325988D33}"/>
                </a:ext>
              </a:extLst>
            </p:cNvPr>
            <p:cNvSpPr/>
            <p:nvPr/>
          </p:nvSpPr>
          <p:spPr>
            <a:xfrm rot="10800000">
              <a:off x="286403" y="688637"/>
              <a:ext cx="2178290" cy="1343724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E6BC71C-0B10-D441-B3B5-96DDC49F5443}"/>
                </a:ext>
              </a:extLst>
            </p:cNvPr>
            <p:cNvSpPr/>
            <p:nvPr/>
          </p:nvSpPr>
          <p:spPr>
            <a:xfrm rot="10800000">
              <a:off x="6843790" y="688637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4042E9A-6718-ED40-9BAA-5932A5F0A48F}"/>
                </a:ext>
              </a:extLst>
            </p:cNvPr>
            <p:cNvSpPr/>
            <p:nvPr/>
          </p:nvSpPr>
          <p:spPr>
            <a:xfrm rot="10800000">
              <a:off x="2472198" y="68863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55376CB-4852-6B40-B615-382DBB999E6B}"/>
                </a:ext>
              </a:extLst>
            </p:cNvPr>
            <p:cNvSpPr/>
            <p:nvPr/>
          </p:nvSpPr>
          <p:spPr>
            <a:xfrm rot="10800000">
              <a:off x="4657994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96DD27C-3614-1640-833F-1594C804F252}"/>
                </a:ext>
              </a:extLst>
            </p:cNvPr>
            <p:cNvSpPr/>
            <p:nvPr/>
          </p:nvSpPr>
          <p:spPr>
            <a:xfrm rot="10800000">
              <a:off x="286403" y="2042126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D3A19B2-93CC-D548-8E47-3B611044254D}"/>
                </a:ext>
              </a:extLst>
            </p:cNvPr>
            <p:cNvSpPr/>
            <p:nvPr/>
          </p:nvSpPr>
          <p:spPr>
            <a:xfrm rot="10800000">
              <a:off x="6843790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C008320-252E-7743-8A7E-A32F5890D5D5}"/>
                </a:ext>
              </a:extLst>
            </p:cNvPr>
            <p:cNvSpPr/>
            <p:nvPr/>
          </p:nvSpPr>
          <p:spPr>
            <a:xfrm rot="10800000">
              <a:off x="2472198" y="2042126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23B003E-FC6F-424D-8DD7-46E2F57DF9CF}"/>
                </a:ext>
              </a:extLst>
            </p:cNvPr>
            <p:cNvSpPr/>
            <p:nvPr/>
          </p:nvSpPr>
          <p:spPr>
            <a:xfrm rot="10800000">
              <a:off x="4657994" y="3395619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FFBD769-D722-C940-BF80-86F7061BCFE0}"/>
                </a:ext>
              </a:extLst>
            </p:cNvPr>
            <p:cNvSpPr/>
            <p:nvPr/>
          </p:nvSpPr>
          <p:spPr>
            <a:xfrm rot="10800000">
              <a:off x="286403" y="3395618"/>
              <a:ext cx="2178290" cy="1343724"/>
            </a:xfrm>
            <a:prstGeom prst="rect">
              <a:avLst/>
            </a:prstGeom>
            <a:solidFill>
              <a:schemeClr val="tx2"/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45A73A3-8D83-824B-8804-1E5BFC66C19A}"/>
                </a:ext>
              </a:extLst>
            </p:cNvPr>
            <p:cNvSpPr/>
            <p:nvPr/>
          </p:nvSpPr>
          <p:spPr>
            <a:xfrm rot="10800000">
              <a:off x="6843790" y="3395618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1FBB770-8B35-0845-BFC9-1DDF7EE11BF0}"/>
                </a:ext>
              </a:extLst>
            </p:cNvPr>
            <p:cNvSpPr/>
            <p:nvPr/>
          </p:nvSpPr>
          <p:spPr>
            <a:xfrm rot="10800000">
              <a:off x="2472198" y="3395619"/>
              <a:ext cx="2178290" cy="1343724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12700" cmpd="sng">
              <a:noFill/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2000" dirty="0" err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2F0C7C8-2D57-BD46-BDAA-90EF2C88E8D5}"/>
                </a:ext>
              </a:extLst>
            </p:cNvPr>
            <p:cNvSpPr txBox="1"/>
            <p:nvPr/>
          </p:nvSpPr>
          <p:spPr>
            <a:xfrm>
              <a:off x="315967" y="1048758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</a:t>
              </a:r>
              <a:r>
                <a:rPr lang="en-US" sz="800" dirty="0"/>
                <a:t>mobile application for the executives to view the weekly/quarterly forecast along with current revenue, margin details with drill down functionality for world-wide leadership team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9145CDB-EE55-7844-9CA1-75204DB79FBE}"/>
                </a:ext>
              </a:extLst>
            </p:cNvPr>
            <p:cNvSpPr/>
            <p:nvPr/>
          </p:nvSpPr>
          <p:spPr>
            <a:xfrm>
              <a:off x="669571" y="804924"/>
              <a:ext cx="89730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RC Reports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D1C891B-8C2F-4948-BD70-8203C17047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1169389"/>
              <a:ext cx="507785" cy="777089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635251C-8CCA-E744-BEB0-8CD300CFB66C}"/>
                </a:ext>
              </a:extLst>
            </p:cNvPr>
            <p:cNvSpPr/>
            <p:nvPr/>
          </p:nvSpPr>
          <p:spPr>
            <a:xfrm>
              <a:off x="2132130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</a:t>
              </a:r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9089D3FB-B8FE-7D41-B531-65807A84E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792634"/>
              <a:ext cx="268827" cy="253169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63A7E164-57BB-FD43-9FDB-422E2280B0C7}"/>
                </a:ext>
              </a:extLst>
            </p:cNvPr>
            <p:cNvSpPr txBox="1"/>
            <p:nvPr/>
          </p:nvSpPr>
          <p:spPr>
            <a:xfrm>
              <a:off x="315967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Connect to your meetings, calendar and colleagues, all in one easy to use place. Find content from Dell’s web properties.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676AF46-237A-4D4C-98E2-FE453C5F5E5B}"/>
                </a:ext>
              </a:extLst>
            </p:cNvPr>
            <p:cNvSpPr/>
            <p:nvPr/>
          </p:nvSpPr>
          <p:spPr>
            <a:xfrm>
              <a:off x="669571" y="2148649"/>
              <a:ext cx="597258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ngage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514FE5F5-6BF3-4F45-8A97-3007FCE2C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2507124"/>
              <a:ext cx="507785" cy="777089"/>
            </a:xfrm>
            <a:prstGeom prst="rect">
              <a:avLst/>
            </a:prstGeom>
          </p:spPr>
        </p:pic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71C58DC-7F25-2945-B47C-6046BB37292A}"/>
                </a:ext>
              </a:extLst>
            </p:cNvPr>
            <p:cNvSpPr/>
            <p:nvPr/>
          </p:nvSpPr>
          <p:spPr>
            <a:xfrm>
              <a:off x="2132130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5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0EACF824-1E13-C441-9B97-8ABC2152E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2139578"/>
              <a:ext cx="268827" cy="253169"/>
            </a:xfrm>
            <a:prstGeom prst="rect">
              <a:avLst/>
            </a:prstGeom>
          </p:spPr>
        </p:pic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BF0EEEF-E769-7945-880F-C82A4733C0AD}"/>
                </a:ext>
              </a:extLst>
            </p:cNvPr>
            <p:cNvSpPr txBox="1"/>
            <p:nvPr/>
          </p:nvSpPr>
          <p:spPr>
            <a:xfrm>
              <a:off x="315967" y="3744324"/>
              <a:ext cx="15078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GB" sz="800" dirty="0"/>
                <a:t>Hack platform is an application which provides the podium to host hackathon, vote for your favourite team, submit ideas, submit problem statements.</a:t>
              </a:r>
              <a:endParaRPr lang="en-US" sz="800" dirty="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F307B96-58EE-1B4C-BD6E-8EBA5BB7A07D}"/>
                </a:ext>
              </a:extLst>
            </p:cNvPr>
            <p:cNvSpPr/>
            <p:nvPr/>
          </p:nvSpPr>
          <p:spPr>
            <a:xfrm>
              <a:off x="669571" y="3500491"/>
              <a:ext cx="470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ack</a:t>
              </a:r>
            </a:p>
          </p:txBody>
        </p:sp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E0CD1189-14CA-E849-AD9E-FB9CB3328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792" y="3867242"/>
              <a:ext cx="507785" cy="777089"/>
            </a:xfrm>
            <a:prstGeom prst="rect">
              <a:avLst/>
            </a:prstGeom>
          </p:spPr>
        </p:pic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076F8A3-0900-4047-831A-094C8EFA1585}"/>
                </a:ext>
              </a:extLst>
            </p:cNvPr>
            <p:cNvSpPr/>
            <p:nvPr/>
          </p:nvSpPr>
          <p:spPr>
            <a:xfrm>
              <a:off x="2132130" y="3402971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9</a:t>
              </a: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DAF0B644-C3A0-4641-ABE8-FBE79F812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255" y="3491420"/>
              <a:ext cx="268827" cy="253169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94A8479-983A-FB4C-83E3-6382740A1DCF}"/>
                </a:ext>
              </a:extLst>
            </p:cNvPr>
            <p:cNvSpPr txBox="1"/>
            <p:nvPr/>
          </p:nvSpPr>
          <p:spPr>
            <a:xfrm>
              <a:off x="2499169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It shows the real time sales and revenue information across globe </a:t>
              </a:r>
              <a:endParaRPr lang="en-US" sz="800" dirty="0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66E1ADB1-9CAE-8B46-BB7E-573BF4827408}"/>
                </a:ext>
              </a:extLst>
            </p:cNvPr>
            <p:cNvSpPr/>
            <p:nvPr/>
          </p:nvSpPr>
          <p:spPr>
            <a:xfrm>
              <a:off x="2852773" y="804924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Sales Dashboard</a:t>
              </a:r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E90D67BE-A6C5-CE4A-8F77-DEB4AAFE7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1169389"/>
              <a:ext cx="507785" cy="777089"/>
            </a:xfrm>
            <a:prstGeom prst="rect">
              <a:avLst/>
            </a:prstGeom>
          </p:spPr>
        </p:pic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2F3CE113-B834-2E43-9DBD-FB7F95934151}"/>
                </a:ext>
              </a:extLst>
            </p:cNvPr>
            <p:cNvSpPr/>
            <p:nvPr/>
          </p:nvSpPr>
          <p:spPr>
            <a:xfrm>
              <a:off x="4323479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2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00FC7A99-5978-3942-8774-3B839EA6A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792634"/>
              <a:ext cx="268827" cy="253169"/>
            </a:xfrm>
            <a:prstGeom prst="rect">
              <a:avLst/>
            </a:prstGeom>
          </p:spPr>
        </p:pic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04AFF0CF-D616-5F4D-A5E4-05210EE8C31B}"/>
                </a:ext>
              </a:extLst>
            </p:cNvPr>
            <p:cNvSpPr txBox="1"/>
            <p:nvPr/>
          </p:nvSpPr>
          <p:spPr>
            <a:xfrm>
              <a:off x="2499169" y="2392483"/>
              <a:ext cx="1507824" cy="8805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droid Mobile and smart watch app which will be used to check/monitor the software burn status within Dell factory. It is an intelligent Information systems for Storage ET operators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789797E-7413-9A46-9EB2-9EC10BB13F65}"/>
                </a:ext>
              </a:extLst>
            </p:cNvPr>
            <p:cNvSpPr/>
            <p:nvPr/>
          </p:nvSpPr>
          <p:spPr>
            <a:xfrm>
              <a:off x="2852773" y="2148649"/>
              <a:ext cx="1139221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Burn Notification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A1F4B1A0-8441-3B4C-8A3F-EEC5D47BD38C}"/>
                </a:ext>
              </a:extLst>
            </p:cNvPr>
            <p:cNvSpPr/>
            <p:nvPr/>
          </p:nvSpPr>
          <p:spPr>
            <a:xfrm>
              <a:off x="4323479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6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B331274A-075B-4949-8A9F-06A930CF6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3457" y="2139578"/>
              <a:ext cx="268827" cy="253169"/>
            </a:xfrm>
            <a:prstGeom prst="rect">
              <a:avLst/>
            </a:prstGeom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0458FE8-3D88-B54E-A32B-CD36414F65EC}"/>
                </a:ext>
              </a:extLst>
            </p:cNvPr>
            <p:cNvSpPr txBox="1"/>
            <p:nvPr/>
          </p:nvSpPr>
          <p:spPr>
            <a:xfrm>
              <a:off x="2499169" y="3744325"/>
              <a:ext cx="150782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A 3D Model Viewer application is developed to showcase 3D rendering of laptop based on the image detected by phone camera. User can able to rotate &amp; check all 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F7DB450-1FE7-D14E-9B80-BB439A9658E9}"/>
                </a:ext>
              </a:extLst>
            </p:cNvPr>
            <p:cNvSpPr/>
            <p:nvPr/>
          </p:nvSpPr>
          <p:spPr>
            <a:xfrm>
              <a:off x="2852773" y="3500491"/>
              <a:ext cx="77457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3D Viewer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7DF56486-F7C2-5741-BFD9-37587C4D1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6994" y="3867242"/>
              <a:ext cx="507785" cy="777089"/>
            </a:xfrm>
            <a:prstGeom prst="rect">
              <a:avLst/>
            </a:prstGeom>
          </p:spPr>
        </p:pic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31196FC9-39FE-CD49-A61E-60ED29558896}"/>
                </a:ext>
              </a:extLst>
            </p:cNvPr>
            <p:cNvSpPr/>
            <p:nvPr/>
          </p:nvSpPr>
          <p:spPr>
            <a:xfrm>
              <a:off x="4185239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0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BF0AC677-7D41-2041-87E5-ADFFA8D474CD}"/>
                </a:ext>
              </a:extLst>
            </p:cNvPr>
            <p:cNvSpPr txBox="1"/>
            <p:nvPr/>
          </p:nvSpPr>
          <p:spPr>
            <a:xfrm>
              <a:off x="4682372" y="1048758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Empowering All Dell Team Members to Engage as Customer Advocates </a:t>
              </a:r>
              <a:endParaRPr lang="en-US" sz="800" dirty="0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B74F16CC-D59C-A14E-A5FB-B212F85600A1}"/>
                </a:ext>
              </a:extLst>
            </p:cNvPr>
            <p:cNvSpPr/>
            <p:nvPr/>
          </p:nvSpPr>
          <p:spPr>
            <a:xfrm>
              <a:off x="5035976" y="804924"/>
              <a:ext cx="1131366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Help A Customer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A3CC2E1B-45B4-6347-8F6A-788BB10C8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1169389"/>
              <a:ext cx="507785" cy="777089"/>
            </a:xfrm>
            <a:prstGeom prst="rect">
              <a:avLst/>
            </a:prstGeom>
          </p:spPr>
        </p:pic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26DBBED5-7D27-D04E-A92E-3E31B3107BF7}"/>
                </a:ext>
              </a:extLst>
            </p:cNvPr>
            <p:cNvSpPr/>
            <p:nvPr/>
          </p:nvSpPr>
          <p:spPr>
            <a:xfrm>
              <a:off x="6506681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3</a:t>
              </a:r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FF85CC10-70DE-244C-AE16-308A72E41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792634"/>
              <a:ext cx="268827" cy="253169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918DC2B-F676-AD4A-8BF1-343C77010D69}"/>
                </a:ext>
              </a:extLst>
            </p:cNvPr>
            <p:cNvSpPr txBox="1"/>
            <p:nvPr/>
          </p:nvSpPr>
          <p:spPr>
            <a:xfrm>
              <a:off x="4682372" y="2392483"/>
              <a:ext cx="1507824" cy="653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 mobile application for the business partner (India Sales Teams) to assign and track the bids for the Government e Marketplace tender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5756A403-66AF-C64E-9B5A-FB07BADE266E}"/>
                </a:ext>
              </a:extLst>
            </p:cNvPr>
            <p:cNvSpPr/>
            <p:nvPr/>
          </p:nvSpPr>
          <p:spPr>
            <a:xfrm>
              <a:off x="5035976" y="2148649"/>
              <a:ext cx="902014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GeM Tracker</a:t>
              </a:r>
            </a:p>
          </p:txBody>
        </p:sp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0BF4B5AC-B30B-E242-B63F-5F4E9853E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0197" y="2507124"/>
              <a:ext cx="507785" cy="777089"/>
            </a:xfrm>
            <a:prstGeom prst="rect">
              <a:avLst/>
            </a:prstGeom>
          </p:spPr>
        </p:pic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EB85D08-ADE4-FB4A-962A-D0D3090FAD29}"/>
                </a:ext>
              </a:extLst>
            </p:cNvPr>
            <p:cNvSpPr/>
            <p:nvPr/>
          </p:nvSpPr>
          <p:spPr>
            <a:xfrm>
              <a:off x="6506681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7</a:t>
              </a: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CCEC451C-6520-054A-8019-5F36CC208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660" y="2139578"/>
              <a:ext cx="268827" cy="253169"/>
            </a:xfrm>
            <a:prstGeom prst="rect">
              <a:avLst/>
            </a:prstGeom>
          </p:spPr>
        </p:pic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BCCD3089-0BE4-E542-B588-61C64D0AB8AB}"/>
                </a:ext>
              </a:extLst>
            </p:cNvPr>
            <p:cNvSpPr/>
            <p:nvPr/>
          </p:nvSpPr>
          <p:spPr>
            <a:xfrm>
              <a:off x="6368442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1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A235266C-0F6A-9240-82AC-CEDD5C284C59}"/>
                </a:ext>
              </a:extLst>
            </p:cNvPr>
            <p:cNvSpPr txBox="1"/>
            <p:nvPr/>
          </p:nvSpPr>
          <p:spPr>
            <a:xfrm>
              <a:off x="6873721" y="1048758"/>
              <a:ext cx="1507824" cy="539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altLang="en-US" sz="800" dirty="0"/>
                <a:t>This app enables the user to check the details and schedules of an oncoming registered event </a:t>
              </a:r>
              <a:endParaRPr lang="en-US" sz="800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355A1FEA-F0AE-AA40-BF53-C09084089C5A}"/>
                </a:ext>
              </a:extLst>
            </p:cNvPr>
            <p:cNvSpPr/>
            <p:nvPr/>
          </p:nvSpPr>
          <p:spPr>
            <a:xfrm>
              <a:off x="7227325" y="804924"/>
              <a:ext cx="55955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vents</a:t>
              </a:r>
            </a:p>
          </p:txBody>
        </p:sp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2EBD447F-8F3C-8D42-B058-1221406F1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1169389"/>
              <a:ext cx="507785" cy="777089"/>
            </a:xfrm>
            <a:prstGeom prst="rect">
              <a:avLst/>
            </a:prstGeom>
          </p:spPr>
        </p:pic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D36E9831-9CF0-BB44-92AC-5545DA172585}"/>
                </a:ext>
              </a:extLst>
            </p:cNvPr>
            <p:cNvSpPr/>
            <p:nvPr/>
          </p:nvSpPr>
          <p:spPr>
            <a:xfrm>
              <a:off x="8681737" y="701320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4</a:t>
              </a:r>
            </a:p>
          </p:txBody>
        </p: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D6953461-73A7-DE4B-807F-DF36D84A8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792634"/>
              <a:ext cx="268827" cy="253169"/>
            </a:xfrm>
            <a:prstGeom prst="rect">
              <a:avLst/>
            </a:prstGeom>
          </p:spPr>
        </p:pic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BC45F2F2-6955-A74A-88A1-4F25A9C2A799}"/>
                </a:ext>
              </a:extLst>
            </p:cNvPr>
            <p:cNvSpPr txBox="1"/>
            <p:nvPr/>
          </p:nvSpPr>
          <p:spPr>
            <a:xfrm>
              <a:off x="6873721" y="2392483"/>
              <a:ext cx="1507824" cy="42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sz="800" dirty="0"/>
                <a:t>An innovative All-Ireland solution for registering visitors to visit our buildings. 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0C420194-DDAD-5141-A10E-BE67B564871A}"/>
                </a:ext>
              </a:extLst>
            </p:cNvPr>
            <p:cNvSpPr/>
            <p:nvPr/>
          </p:nvSpPr>
          <p:spPr>
            <a:xfrm>
              <a:off x="7227325" y="2148649"/>
              <a:ext cx="716647" cy="22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My Guest</a:t>
              </a:r>
            </a:p>
          </p:txBody>
        </p:sp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B623B23A-A432-D24D-90F3-520207214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1546" y="2507124"/>
              <a:ext cx="507785" cy="777089"/>
            </a:xfrm>
            <a:prstGeom prst="rect">
              <a:avLst/>
            </a:prstGeom>
          </p:spPr>
        </p:pic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77F2980-5488-BC42-94CD-A33E067A383F}"/>
                </a:ext>
              </a:extLst>
            </p:cNvPr>
            <p:cNvSpPr/>
            <p:nvPr/>
          </p:nvSpPr>
          <p:spPr>
            <a:xfrm>
              <a:off x="8681737" y="2042853"/>
              <a:ext cx="319208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8</a:t>
              </a: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91561E22-2560-E64B-AFA2-9C0DC1BCC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8008" y="2139578"/>
              <a:ext cx="268827" cy="253169"/>
            </a:xfrm>
            <a:prstGeom prst="rect">
              <a:avLst/>
            </a:prstGeom>
          </p:spPr>
        </p:pic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59F9480-E0A6-2F45-8600-52503A2BC59B}"/>
                </a:ext>
              </a:extLst>
            </p:cNvPr>
            <p:cNvSpPr/>
            <p:nvPr/>
          </p:nvSpPr>
          <p:spPr>
            <a:xfrm>
              <a:off x="8543498" y="3402971"/>
              <a:ext cx="457447" cy="3692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altLang="en-US" sz="2000" dirty="0">
                  <a:solidFill>
                    <a:schemeClr val="tx2">
                      <a:lumMod val="75000"/>
                    </a:schemeClr>
                  </a:solidFill>
                  <a:latin typeface="Roboto Thin" pitchFamily="2" charset="0"/>
                  <a:ea typeface="Roboto Thin" pitchFamily="2" charset="0"/>
                </a:rPr>
                <a:t>12</a:t>
              </a:r>
            </a:p>
          </p:txBody>
        </p:sp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9B723C14-0906-8A46-94C0-05C41DEB2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4757" y="2433837"/>
              <a:ext cx="752032" cy="978298"/>
            </a:xfrm>
            <a:prstGeom prst="rect">
              <a:avLst/>
            </a:prstGeom>
          </p:spPr>
        </p:pic>
        <p:pic>
          <p:nvPicPr>
            <p:cNvPr id="153" name="Picture 152">
              <a:extLst>
                <a:ext uri="{FF2B5EF4-FFF2-40B4-BE49-F238E27FC236}">
                  <a16:creationId xmlns:a16="http://schemas.microsoft.com/office/drawing/2014/main" id="{35C03DFC-806E-F94C-A9AE-F00B7FC97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2586716" y="3493581"/>
              <a:ext cx="268827" cy="253169"/>
            </a:xfrm>
            <a:prstGeom prst="rect">
              <a:avLst/>
            </a:prstGeom>
          </p:spPr>
        </p:pic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7FDE507-AD89-4F83-89BD-FA86D32C8ECF}"/>
                </a:ext>
              </a:extLst>
            </p:cNvPr>
            <p:cNvSpPr txBox="1"/>
            <p:nvPr/>
          </p:nvSpPr>
          <p:spPr>
            <a:xfrm>
              <a:off x="6906797" y="3813358"/>
              <a:ext cx="15501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Simplifying the Solution Selling Process for Sales Teams Engaging with Customers &amp; Prospects 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62EC1E5-E0FD-40BB-8F0F-1C3D129FD4E1}"/>
                </a:ext>
              </a:extLst>
            </p:cNvPr>
            <p:cNvSpPr/>
            <p:nvPr/>
          </p:nvSpPr>
          <p:spPr>
            <a:xfrm>
              <a:off x="7239328" y="3508144"/>
              <a:ext cx="71205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Tricorder</a:t>
              </a: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640D5CE1-A3A7-4C60-A768-134C56B5C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5348" y="3500491"/>
              <a:ext cx="258648" cy="255600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0255C5E-5742-48EE-AFC4-0AE2C9BD6022}"/>
                </a:ext>
              </a:extLst>
            </p:cNvPr>
            <p:cNvSpPr txBox="1"/>
            <p:nvPr/>
          </p:nvSpPr>
          <p:spPr>
            <a:xfrm>
              <a:off x="4686799" y="3788679"/>
              <a:ext cx="14984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lumMod val="95000"/>
                      <a:lumOff val="5000"/>
                    </a:schemeClr>
                  </a:solidFill>
                  <a:latin typeface="Roboto Light" charset="0"/>
                  <a:ea typeface="Roboto Light" charset="0"/>
                  <a:cs typeface="Roboto Light" charset="0"/>
                </a:defRPr>
              </a:lvl1pPr>
            </a:lstStyle>
            <a:p>
              <a:r>
                <a:rPr lang="en-US" dirty="0"/>
                <a:t>Easy Customer and Partner Access to View, Save &amp; Share e-Lab Certified Configurations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24D4185-35B8-48A6-BE8D-E6564B3F7299}"/>
                </a:ext>
              </a:extLst>
            </p:cNvPr>
            <p:cNvSpPr/>
            <p:nvPr/>
          </p:nvSpPr>
          <p:spPr>
            <a:xfrm>
              <a:off x="5035487" y="3484255"/>
              <a:ext cx="109998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sz="1000" dirty="0">
                  <a:solidFill>
                    <a:srgbClr val="0076CE"/>
                  </a:solidFill>
                  <a:latin typeface="Roboto Medium" pitchFamily="2" charset="0"/>
                  <a:ea typeface="Roboto Medium" pitchFamily="2" charset="0"/>
                </a:rPr>
                <a:t>E-Lab Navigator</a:t>
              </a:r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6B304F24-40BD-4EE7-A740-D44B8E3D8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9972" y="3883594"/>
              <a:ext cx="484231" cy="77760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5FBC8672-AD2F-400E-8A02-CC242060B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748" y="3488724"/>
              <a:ext cx="258649" cy="255600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2286" y="3883594"/>
              <a:ext cx="480498" cy="777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737310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8121536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AfCfmS1GNKUJnOH_7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MRaHATZaiZ6NhDcow6Q"/>
</p:tagLst>
</file>

<file path=ppt/theme/theme1.xml><?xml version="1.0" encoding="utf-8"?>
<a:theme xmlns:a="http://schemas.openxmlformats.org/drawingml/2006/main" name="2016_Dell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_PPT_Presentation_16x9_v2" id="{D6375BD9-608F-470C-B0C6-D7B4B622D87E}" vid="{7D07F228-593D-4249-8308-D303BABD1CA4}"/>
    </a:ext>
  </a:extLst>
</a:theme>
</file>

<file path=ppt/theme/theme2.xml><?xml version="1.0" encoding="utf-8"?>
<a:theme xmlns:a="http://schemas.openxmlformats.org/drawingml/2006/main" name="4x3_Dell_PPTX_Template_BW1">
  <a:themeElements>
    <a:clrScheme name="Dell new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B7295A"/>
      </a:accent1>
      <a:accent2>
        <a:srgbClr val="F2AF00"/>
      </a:accent2>
      <a:accent3>
        <a:srgbClr val="7AB800"/>
      </a:accent3>
      <a:accent4>
        <a:srgbClr val="AAAAAA"/>
      </a:accent4>
      <a:accent5>
        <a:srgbClr val="6E2585"/>
      </a:accent5>
      <a:accent6>
        <a:srgbClr val="3084B6"/>
      </a:accent6>
      <a:hlink>
        <a:srgbClr val="DC5034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0873BDD3-AA35-4F19-A12A-C6462BECFBD1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00</TotalTime>
  <Words>438</Words>
  <Application>Microsoft Office PowerPoint</Application>
  <PresentationFormat>On-screen Show (16:9)</PresentationFormat>
  <Paragraphs>110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6" baseType="lpstr">
      <vt:lpstr>Arial</vt:lpstr>
      <vt:lpstr>Arial</vt:lpstr>
      <vt:lpstr>Arial Black</vt:lpstr>
      <vt:lpstr>Calibri</vt:lpstr>
      <vt:lpstr>Calibri Light</vt:lpstr>
      <vt:lpstr>Courier New</vt:lpstr>
      <vt:lpstr>Museo For Dell</vt:lpstr>
      <vt:lpstr>Museo For Dell 300</vt:lpstr>
      <vt:lpstr>museo sans for dell</vt:lpstr>
      <vt:lpstr>museo sans for dell</vt:lpstr>
      <vt:lpstr>Roboto</vt:lpstr>
      <vt:lpstr>Roboto Light</vt:lpstr>
      <vt:lpstr>Roboto Medium</vt:lpstr>
      <vt:lpstr>Roboto Thin</vt:lpstr>
      <vt:lpstr>Trebuchet MS</vt:lpstr>
      <vt:lpstr>Wingdings</vt:lpstr>
      <vt:lpstr>2016_Dell_ppt_template</vt:lpstr>
      <vt:lpstr>4x3_Dell_PPTX_Template_BW1</vt:lpstr>
      <vt:lpstr>Office Theme</vt:lpstr>
      <vt:lpstr>think-cell Slide</vt:lpstr>
      <vt:lpstr>Enterprise Mobility Showcase</vt:lpstr>
      <vt:lpstr>Agenda</vt:lpstr>
      <vt:lpstr>PowerPoint Presentation</vt:lpstr>
      <vt:lpstr>PowerPoint Presentation</vt:lpstr>
      <vt:lpstr>PowerPoint Presentation</vt:lpstr>
      <vt:lpstr>PowerPoint Presentation</vt:lpstr>
    </vt:vector>
  </TitlesOfParts>
  <Company>Dell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porate Brand Team</dc:creator>
  <cp:keywords>Internal Use</cp:keywords>
  <cp:lastModifiedBy>Datta, Partha</cp:lastModifiedBy>
  <cp:revision>385</cp:revision>
  <cp:lastPrinted>2014-02-14T16:26:12Z</cp:lastPrinted>
  <dcterms:created xsi:type="dcterms:W3CDTF">2016-04-27T19:40:43Z</dcterms:created>
  <dcterms:modified xsi:type="dcterms:W3CDTF">2019-10-22T10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90e7cef2-6662-4b34-af72-6d19d6edd9c2</vt:lpwstr>
  </property>
  <property fmtid="{D5CDD505-2E9C-101B-9397-08002B2CF9AE}" pid="4" name="DocumentMarkings">
    <vt:lpwstr>&lt;SPAN style="FONT-FAMILY: museo sans for dell; COLOR: rgb(170,170,170); FONT-SIZE: 8.5pt"&gt; &lt;P align=left&gt;Dell - Internal Use - Confidential  &lt;/P&gt;&lt;/SPAN&gt;;&lt;SPAN style="FONT-FAMILY: museo sans for dell; COLOR: rgb(170,170,170); FONT-SIZE: 8.5pt"&gt; &lt;P align=le</vt:lpwstr>
  </property>
  <property fmtid="{D5CDD505-2E9C-101B-9397-08002B2CF9AE}" pid="5" name="Document Editor">
    <vt:lpwstr>Angele_Davidson</vt:lpwstr>
  </property>
  <property fmtid="{D5CDD505-2E9C-101B-9397-08002B2CF9AE}" pid="6" name="DellVisualMarkingsPPT">
    <vt:lpwstr>Classification Footer</vt:lpwstr>
  </property>
  <property fmtid="{D5CDD505-2E9C-101B-9397-08002B2CF9AE}" pid="7" name="DellClassification">
    <vt:lpwstr>Internal Use</vt:lpwstr>
  </property>
  <property fmtid="{D5CDD505-2E9C-101B-9397-08002B2CF9AE}" pid="8" name="DellSubLabels">
    <vt:lpwstr/>
  </property>
  <property fmtid="{D5CDD505-2E9C-101B-9397-08002B2CF9AE}" pid="9" name="DellVisual Markings (PPT)">
    <vt:lpwstr>Classification Footer</vt:lpwstr>
  </property>
  <property fmtid="{D5CDD505-2E9C-101B-9397-08002B2CF9AE}" pid="10" name="titusconfig">
    <vt:lpwstr>0.6CorpGlobal</vt:lpwstr>
  </property>
  <property fmtid="{D5CDD505-2E9C-101B-9397-08002B2CF9AE}" pid="11" name="MSIP_Label_7de70ee2-0cb4-4d60-aee5-75ef2c4c8a90_Enabled">
    <vt:lpwstr>True</vt:lpwstr>
  </property>
  <property fmtid="{D5CDD505-2E9C-101B-9397-08002B2CF9AE}" pid="12" name="MSIP_Label_7de70ee2-0cb4-4d60-aee5-75ef2c4c8a90_SiteId">
    <vt:lpwstr>945c199a-83a2-4e80-9f8c-5a91be5752dd</vt:lpwstr>
  </property>
  <property fmtid="{D5CDD505-2E9C-101B-9397-08002B2CF9AE}" pid="13" name="MSIP_Label_7de70ee2-0cb4-4d60-aee5-75ef2c4c8a90_Owner">
    <vt:lpwstr>Partha.Datta@emc.com</vt:lpwstr>
  </property>
  <property fmtid="{D5CDD505-2E9C-101B-9397-08002B2CF9AE}" pid="14" name="MSIP_Label_7de70ee2-0cb4-4d60-aee5-75ef2c4c8a90_SetDate">
    <vt:lpwstr>2019-10-22T10:02:12.6750855Z</vt:lpwstr>
  </property>
  <property fmtid="{D5CDD505-2E9C-101B-9397-08002B2CF9AE}" pid="15" name="MSIP_Label_7de70ee2-0cb4-4d60-aee5-75ef2c4c8a90_Name">
    <vt:lpwstr>Internal Use</vt:lpwstr>
  </property>
  <property fmtid="{D5CDD505-2E9C-101B-9397-08002B2CF9AE}" pid="16" name="MSIP_Label_7de70ee2-0cb4-4d60-aee5-75ef2c4c8a90_Application">
    <vt:lpwstr>Microsoft Azure Information Protection</vt:lpwstr>
  </property>
  <property fmtid="{D5CDD505-2E9C-101B-9397-08002B2CF9AE}" pid="17" name="MSIP_Label_7de70ee2-0cb4-4d60-aee5-75ef2c4c8a90_Extended_MSFT_Method">
    <vt:lpwstr>Manual</vt:lpwstr>
  </property>
  <property fmtid="{D5CDD505-2E9C-101B-9397-08002B2CF9AE}" pid="18" name="MSIP_Label_da6fab74-d5af-4af7-a9a4-78d84655a626_Enabled">
    <vt:lpwstr>True</vt:lpwstr>
  </property>
  <property fmtid="{D5CDD505-2E9C-101B-9397-08002B2CF9AE}" pid="19" name="MSIP_Label_da6fab74-d5af-4af7-a9a4-78d84655a626_SiteId">
    <vt:lpwstr>945c199a-83a2-4e80-9f8c-5a91be5752dd</vt:lpwstr>
  </property>
  <property fmtid="{D5CDD505-2E9C-101B-9397-08002B2CF9AE}" pid="20" name="MSIP_Label_da6fab74-d5af-4af7-a9a4-78d84655a626_Owner">
    <vt:lpwstr>Partha.Datta@emc.com</vt:lpwstr>
  </property>
  <property fmtid="{D5CDD505-2E9C-101B-9397-08002B2CF9AE}" pid="21" name="MSIP_Label_da6fab74-d5af-4af7-a9a4-78d84655a626_SetDate">
    <vt:lpwstr>2019-10-22T10:02:12.6750855Z</vt:lpwstr>
  </property>
  <property fmtid="{D5CDD505-2E9C-101B-9397-08002B2CF9AE}" pid="22" name="MSIP_Label_da6fab74-d5af-4af7-a9a4-78d84655a626_Name">
    <vt:lpwstr>Visual Marking</vt:lpwstr>
  </property>
  <property fmtid="{D5CDD505-2E9C-101B-9397-08002B2CF9AE}" pid="23" name="MSIP_Label_da6fab74-d5af-4af7-a9a4-78d84655a626_Application">
    <vt:lpwstr>Microsoft Azure Information Protection</vt:lpwstr>
  </property>
  <property fmtid="{D5CDD505-2E9C-101B-9397-08002B2CF9AE}" pid="24" name="MSIP_Label_da6fab74-d5af-4af7-a9a4-78d84655a626_Parent">
    <vt:lpwstr>7de70ee2-0cb4-4d60-aee5-75ef2c4c8a90</vt:lpwstr>
  </property>
  <property fmtid="{D5CDD505-2E9C-101B-9397-08002B2CF9AE}" pid="25" name="MSIP_Label_da6fab74-d5af-4af7-a9a4-78d84655a626_Extended_MSFT_Method">
    <vt:lpwstr>Manual</vt:lpwstr>
  </property>
  <property fmtid="{D5CDD505-2E9C-101B-9397-08002B2CF9AE}" pid="26" name="aiplabel">
    <vt:lpwstr>Internal Use Visual Marking</vt:lpwstr>
  </property>
</Properties>
</file>